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32"/>
  </p:notesMasterIdLst>
  <p:handoutMasterIdLst>
    <p:handoutMasterId r:id="rId33"/>
  </p:handoutMasterIdLst>
  <p:sldIdLst>
    <p:sldId id="403" r:id="rId5"/>
    <p:sldId id="439" r:id="rId6"/>
    <p:sldId id="499" r:id="rId7"/>
    <p:sldId id="508" r:id="rId8"/>
    <p:sldId id="509" r:id="rId9"/>
    <p:sldId id="516" r:id="rId10"/>
    <p:sldId id="517" r:id="rId11"/>
    <p:sldId id="518" r:id="rId12"/>
    <p:sldId id="510" r:id="rId13"/>
    <p:sldId id="511" r:id="rId14"/>
    <p:sldId id="512" r:id="rId15"/>
    <p:sldId id="520" r:id="rId16"/>
    <p:sldId id="513" r:id="rId17"/>
    <p:sldId id="444" r:id="rId18"/>
    <p:sldId id="505" r:id="rId19"/>
    <p:sldId id="506" r:id="rId20"/>
    <p:sldId id="507" r:id="rId21"/>
    <p:sldId id="421" r:id="rId22"/>
    <p:sldId id="418" r:id="rId23"/>
    <p:sldId id="428" r:id="rId24"/>
    <p:sldId id="501" r:id="rId25"/>
    <p:sldId id="415" r:id="rId26"/>
    <p:sldId id="360" r:id="rId27"/>
    <p:sldId id="370" r:id="rId28"/>
    <p:sldId id="457" r:id="rId29"/>
    <p:sldId id="515" r:id="rId30"/>
    <p:sldId id="504" r:id="rId31"/>
  </p:sldIdLst>
  <p:sldSz cx="12192000" cy="6858000"/>
  <p:notesSz cx="6797675" cy="9926638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01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123" initials="123" lastIdx="4" clrIdx="0"/>
  <p:cmAuthor id="1" name="Csuzdi Szonja" initials="CSSZ" lastIdx="1" clrIdx="1"/>
  <p:cmAuthor id="2" name="Jeney Nóra" initials="JN" lastIdx="1" clrIdx="2"/>
  <p:cmAuthor id="3" name="Horváth Balázs" initials="HB" lastIdx="3" clrIdx="3">
    <p:extLst>
      <p:ext uri="{19B8F6BF-5375-455C-9EA6-DF929625EA0E}">
        <p15:presenceInfo xmlns:p15="http://schemas.microsoft.com/office/powerpoint/2012/main" userId="S::hobuabi@inf.elte.hu::ff26870e-64aa-4dcd-924d-da68c75a6b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B6D37A"/>
    <a:srgbClr val="CCCCCC"/>
    <a:srgbClr val="72B240"/>
    <a:srgbClr val="666666"/>
    <a:srgbClr val="6864A2"/>
    <a:srgbClr val="FBFCF6"/>
    <a:srgbClr val="51A200"/>
    <a:srgbClr val="7D7D7D"/>
    <a:srgbClr val="39BA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8"/>
        <p:guide pos="2101"/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E38747-67FB-46C2-976A-3965065CFDAB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16FE0A6B-3917-46A1-BCA8-2149E4FB76D4}">
      <dgm:prSet phldrT="[Text]" custT="1"/>
      <dgm:spPr/>
      <dgm:t>
        <a:bodyPr/>
        <a:lstStyle/>
        <a:p>
          <a:r>
            <a:rPr lang="de-DE" sz="2400" b="1" dirty="0" err="1"/>
            <a:t>Social</a:t>
          </a:r>
          <a:r>
            <a:rPr lang="de-DE" sz="2400" b="1" dirty="0"/>
            <a:t> Media</a:t>
          </a:r>
        </a:p>
      </dgm:t>
    </dgm:pt>
    <dgm:pt modelId="{DC806D55-6893-4764-B276-C04BC6B7B12C}" type="parTrans" cxnId="{0B272202-D696-4B57-A17D-73BB6BEA20D2}">
      <dgm:prSet/>
      <dgm:spPr/>
      <dgm:t>
        <a:bodyPr/>
        <a:lstStyle/>
        <a:p>
          <a:endParaRPr lang="de-DE" sz="2400" b="1"/>
        </a:p>
      </dgm:t>
    </dgm:pt>
    <dgm:pt modelId="{C925F6EB-E72E-46F8-8D27-6CB46FCC66A0}" type="sibTrans" cxnId="{0B272202-D696-4B57-A17D-73BB6BEA20D2}">
      <dgm:prSet/>
      <dgm:spPr/>
      <dgm:t>
        <a:bodyPr/>
        <a:lstStyle/>
        <a:p>
          <a:endParaRPr lang="de-DE" sz="2400" b="1"/>
        </a:p>
      </dgm:t>
    </dgm:pt>
    <dgm:pt modelId="{5B1F95FE-C367-466D-B3F1-EDAF2A62A7FB}">
      <dgm:prSet phldrT="[Text]" custT="1"/>
      <dgm:spPr/>
      <dgm:t>
        <a:bodyPr/>
        <a:lstStyle/>
        <a:p>
          <a:r>
            <a:rPr lang="de-DE" sz="2000" b="1" dirty="0"/>
            <a:t>Digital Media</a:t>
          </a:r>
        </a:p>
      </dgm:t>
    </dgm:pt>
    <dgm:pt modelId="{414C4A9F-3BBB-4020-B1CC-4A72DAB3D538}" type="parTrans" cxnId="{79B6F7E8-268D-40A2-9125-2D5507AEC360}">
      <dgm:prSet/>
      <dgm:spPr/>
      <dgm:t>
        <a:bodyPr/>
        <a:lstStyle/>
        <a:p>
          <a:endParaRPr lang="de-DE" sz="2400" b="1"/>
        </a:p>
      </dgm:t>
    </dgm:pt>
    <dgm:pt modelId="{B00E18FF-91C1-4B11-BC82-F626876EE5BC}" type="sibTrans" cxnId="{79B6F7E8-268D-40A2-9125-2D5507AEC360}">
      <dgm:prSet/>
      <dgm:spPr/>
      <dgm:t>
        <a:bodyPr/>
        <a:lstStyle/>
        <a:p>
          <a:endParaRPr lang="de-DE" sz="2400" b="1"/>
        </a:p>
      </dgm:t>
    </dgm:pt>
    <dgm:pt modelId="{168C987C-E06E-4D3B-B98F-A0F03DDF8CCC}">
      <dgm:prSet phldrT="[Text]" custT="1"/>
      <dgm:spPr/>
      <dgm:t>
        <a:bodyPr/>
        <a:lstStyle/>
        <a:p>
          <a:r>
            <a:rPr lang="de-DE" sz="2000" b="1" dirty="0"/>
            <a:t>Technologies/              </a:t>
          </a:r>
          <a:r>
            <a:rPr lang="de-DE" sz="2000" b="1" dirty="0" err="1"/>
            <a:t>Social</a:t>
          </a:r>
          <a:r>
            <a:rPr lang="de-DE" sz="2000" b="1" dirty="0"/>
            <a:t> Software</a:t>
          </a:r>
        </a:p>
      </dgm:t>
    </dgm:pt>
    <dgm:pt modelId="{B4A46493-367D-4E1B-BF97-0F89608FBE79}" type="parTrans" cxnId="{A1ED5499-02A1-4D41-BF16-9D4400C5A309}">
      <dgm:prSet/>
      <dgm:spPr/>
      <dgm:t>
        <a:bodyPr/>
        <a:lstStyle/>
        <a:p>
          <a:endParaRPr lang="de-DE" sz="2400" b="1"/>
        </a:p>
      </dgm:t>
    </dgm:pt>
    <dgm:pt modelId="{D08DF3CC-A1B7-433C-9C73-D669EA221EF4}" type="sibTrans" cxnId="{A1ED5499-02A1-4D41-BF16-9D4400C5A309}">
      <dgm:prSet/>
      <dgm:spPr/>
      <dgm:t>
        <a:bodyPr/>
        <a:lstStyle/>
        <a:p>
          <a:endParaRPr lang="de-DE" sz="2400" b="1"/>
        </a:p>
      </dgm:t>
    </dgm:pt>
    <dgm:pt modelId="{0932CB11-A1E1-48D1-BA0B-D5D20C8B5186}">
      <dgm:prSet phldrT="[Text]" custT="1"/>
      <dgm:spPr/>
      <dgm:t>
        <a:bodyPr/>
        <a:lstStyle/>
        <a:p>
          <a:pPr marL="179388" indent="0" algn="l"/>
          <a:r>
            <a:rPr lang="de-DE" sz="1400" b="0" dirty="0"/>
            <a:t>Wikis</a:t>
          </a:r>
          <a:br>
            <a:rPr lang="de-DE" sz="1400" b="1" dirty="0"/>
          </a:br>
          <a:r>
            <a:rPr lang="de-DE" sz="1400" b="0" dirty="0"/>
            <a:t>Blogs</a:t>
          </a:r>
          <a:br>
            <a:rPr lang="de-DE" sz="1400" b="0" dirty="0"/>
          </a:br>
          <a:r>
            <a:rPr lang="de-DE" sz="1400" b="0" dirty="0"/>
            <a:t>Instant Messaging</a:t>
          </a:r>
          <a:br>
            <a:rPr lang="de-DE" sz="1400" b="0" dirty="0"/>
          </a:br>
          <a:r>
            <a:rPr lang="de-DE" sz="1400" b="0" dirty="0"/>
            <a:t>Collaborative Writing</a:t>
          </a:r>
          <a:br>
            <a:rPr lang="de-DE" sz="1400" b="0" dirty="0"/>
          </a:br>
          <a:r>
            <a:rPr lang="de-DE" sz="1400" b="0" dirty="0"/>
            <a:t>Internet Forum</a:t>
          </a:r>
          <a:br>
            <a:rPr lang="de-DE" sz="1400" b="0" dirty="0"/>
          </a:br>
          <a:r>
            <a:rPr lang="de-DE" sz="1400" b="0" dirty="0" err="1"/>
            <a:t>Social</a:t>
          </a:r>
          <a:r>
            <a:rPr lang="de-DE" sz="1400" b="0" dirty="0"/>
            <a:t> Network</a:t>
          </a:r>
          <a:br>
            <a:rPr lang="de-DE" sz="1400" b="0" dirty="0"/>
          </a:br>
          <a:r>
            <a:rPr lang="de-DE" sz="1400" b="0" dirty="0"/>
            <a:t>Massive Multiplayer Online Games (MOOG)</a:t>
          </a:r>
          <a:br>
            <a:rPr lang="de-DE" sz="1400" b="0" dirty="0"/>
          </a:br>
          <a:r>
            <a:rPr lang="de-DE" sz="1400" b="0" dirty="0"/>
            <a:t>…</a:t>
          </a:r>
        </a:p>
      </dgm:t>
    </dgm:pt>
    <dgm:pt modelId="{EB289F67-5626-4082-9128-8BB92B6F96F8}" type="parTrans" cxnId="{98DFE293-EF8F-44E5-8B44-9E3E7102D0CC}">
      <dgm:prSet/>
      <dgm:spPr/>
      <dgm:t>
        <a:bodyPr/>
        <a:lstStyle/>
        <a:p>
          <a:endParaRPr lang="de-DE" sz="2400" b="1"/>
        </a:p>
      </dgm:t>
    </dgm:pt>
    <dgm:pt modelId="{C6E73D70-FFE9-461A-9431-E9828F4AF7A2}" type="sibTrans" cxnId="{98DFE293-EF8F-44E5-8B44-9E3E7102D0CC}">
      <dgm:prSet/>
      <dgm:spPr/>
      <dgm:t>
        <a:bodyPr/>
        <a:lstStyle/>
        <a:p>
          <a:endParaRPr lang="de-DE" sz="2400" b="1"/>
        </a:p>
      </dgm:t>
    </dgm:pt>
    <dgm:pt modelId="{BB78C94D-A7A5-4581-A07D-61495ED1A577}">
      <dgm:prSet phldrT="[Text]" custT="1"/>
      <dgm:spPr/>
      <dgm:t>
        <a:bodyPr/>
        <a:lstStyle/>
        <a:p>
          <a:pPr marL="179388" indent="0" algn="l"/>
          <a:r>
            <a:rPr lang="de-DE" sz="1400" b="0" dirty="0"/>
            <a:t>Internet</a:t>
          </a:r>
          <a:br>
            <a:rPr lang="de-DE" sz="1400" b="0" dirty="0"/>
          </a:br>
          <a:r>
            <a:rPr lang="de-DE" sz="1400" b="0" dirty="0" err="1"/>
            <a:t>world</a:t>
          </a:r>
          <a:r>
            <a:rPr lang="de-DE" sz="1400" b="0" dirty="0"/>
            <a:t>-</a:t>
          </a:r>
          <a:r>
            <a:rPr lang="de-DE" sz="1400" b="0" dirty="0" err="1"/>
            <a:t>wide</a:t>
          </a:r>
          <a:r>
            <a:rPr lang="de-DE" sz="1400" b="0" dirty="0"/>
            <a:t>-web</a:t>
          </a:r>
          <a:br>
            <a:rPr lang="de-DE" sz="1400" b="0" dirty="0"/>
          </a:br>
          <a:r>
            <a:rPr lang="de-DE" sz="1400" b="0" dirty="0"/>
            <a:t>Computer Games</a:t>
          </a:r>
          <a:br>
            <a:rPr lang="de-DE" sz="1400" b="0" dirty="0"/>
          </a:br>
          <a:r>
            <a:rPr lang="de-DE" sz="1400" b="0" dirty="0"/>
            <a:t>Mobiles</a:t>
          </a:r>
          <a:br>
            <a:rPr lang="de-DE" sz="1400" b="0" dirty="0"/>
          </a:br>
          <a:r>
            <a:rPr lang="de-DE" sz="1400" b="0" dirty="0"/>
            <a:t>Showrooms</a:t>
          </a:r>
          <a:br>
            <a:rPr lang="de-DE" sz="1400" b="0" dirty="0"/>
          </a:br>
          <a:r>
            <a:rPr lang="de-DE" sz="1400" b="0" dirty="0"/>
            <a:t>Whiteboards</a:t>
          </a:r>
          <a:br>
            <a:rPr lang="de-DE" sz="1400" b="0" dirty="0"/>
          </a:br>
          <a:r>
            <a:rPr lang="de-DE" sz="1400" b="0" dirty="0"/>
            <a:t>…</a:t>
          </a:r>
        </a:p>
      </dgm:t>
    </dgm:pt>
    <dgm:pt modelId="{2AE2D8D5-B1FD-429B-9A74-339600444E56}" type="parTrans" cxnId="{823BF3A0-F154-45F4-80D8-0C485AF7C564}">
      <dgm:prSet/>
      <dgm:spPr/>
      <dgm:t>
        <a:bodyPr/>
        <a:lstStyle/>
        <a:p>
          <a:endParaRPr lang="de-DE" sz="2400" b="1"/>
        </a:p>
      </dgm:t>
    </dgm:pt>
    <dgm:pt modelId="{B6950521-ADB7-43C5-8511-41281E73DB83}" type="sibTrans" cxnId="{823BF3A0-F154-45F4-80D8-0C485AF7C564}">
      <dgm:prSet/>
      <dgm:spPr/>
      <dgm:t>
        <a:bodyPr/>
        <a:lstStyle/>
        <a:p>
          <a:endParaRPr lang="de-DE" sz="2400" b="1"/>
        </a:p>
      </dgm:t>
    </dgm:pt>
    <dgm:pt modelId="{131C05D4-9B7F-4430-AA2D-9BEC6B229D5A}" type="pres">
      <dgm:prSet presAssocID="{16E38747-67FB-46C2-976A-3965065CFDAB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2081669-B61E-4F1B-ADE8-47527EE87686}" type="pres">
      <dgm:prSet presAssocID="{16FE0A6B-3917-46A1-BCA8-2149E4FB76D4}" presName="root1" presStyleCnt="0"/>
      <dgm:spPr/>
    </dgm:pt>
    <dgm:pt modelId="{943E57A5-277E-48E2-BDA1-019184D7A8AB}" type="pres">
      <dgm:prSet presAssocID="{16FE0A6B-3917-46A1-BCA8-2149E4FB76D4}" presName="LevelOneTextNode" presStyleLbl="node0" presStyleIdx="0" presStyleCnt="1">
        <dgm:presLayoutVars>
          <dgm:chPref val="3"/>
        </dgm:presLayoutVars>
      </dgm:prSet>
      <dgm:spPr/>
    </dgm:pt>
    <dgm:pt modelId="{7B03A094-B206-4CE7-87A1-892C6F741D8F}" type="pres">
      <dgm:prSet presAssocID="{16FE0A6B-3917-46A1-BCA8-2149E4FB76D4}" presName="level2hierChild" presStyleCnt="0"/>
      <dgm:spPr/>
    </dgm:pt>
    <dgm:pt modelId="{A60A5FFC-372F-465F-9C42-3DEA89B49602}" type="pres">
      <dgm:prSet presAssocID="{414C4A9F-3BBB-4020-B1CC-4A72DAB3D538}" presName="conn2-1" presStyleLbl="parChTrans1D2" presStyleIdx="0" presStyleCnt="2"/>
      <dgm:spPr/>
    </dgm:pt>
    <dgm:pt modelId="{249EBF1B-867C-4781-B021-C70CDA13F67D}" type="pres">
      <dgm:prSet presAssocID="{414C4A9F-3BBB-4020-B1CC-4A72DAB3D538}" presName="connTx" presStyleLbl="parChTrans1D2" presStyleIdx="0" presStyleCnt="2"/>
      <dgm:spPr/>
    </dgm:pt>
    <dgm:pt modelId="{F6EB2F78-5CC6-41D3-93E3-AA8650B92D0E}" type="pres">
      <dgm:prSet presAssocID="{5B1F95FE-C367-466D-B3F1-EDAF2A62A7FB}" presName="root2" presStyleCnt="0"/>
      <dgm:spPr/>
    </dgm:pt>
    <dgm:pt modelId="{19F7D22D-0397-4452-9A30-6A7FEDAFE86F}" type="pres">
      <dgm:prSet presAssocID="{5B1F95FE-C367-466D-B3F1-EDAF2A62A7FB}" presName="LevelTwoTextNode" presStyleLbl="node2" presStyleIdx="0" presStyleCnt="2">
        <dgm:presLayoutVars>
          <dgm:chPref val="3"/>
        </dgm:presLayoutVars>
      </dgm:prSet>
      <dgm:spPr/>
    </dgm:pt>
    <dgm:pt modelId="{30F3949C-EA6B-42FD-A6E3-589C6B87842E}" type="pres">
      <dgm:prSet presAssocID="{5B1F95FE-C367-466D-B3F1-EDAF2A62A7FB}" presName="level3hierChild" presStyleCnt="0"/>
      <dgm:spPr/>
    </dgm:pt>
    <dgm:pt modelId="{715BCDC4-3331-4610-ABDD-74D484D7A6DF}" type="pres">
      <dgm:prSet presAssocID="{2AE2D8D5-B1FD-429B-9A74-339600444E56}" presName="conn2-1" presStyleLbl="parChTrans1D3" presStyleIdx="0" presStyleCnt="2"/>
      <dgm:spPr/>
    </dgm:pt>
    <dgm:pt modelId="{EE3711AD-2AE7-48D1-85CE-062C291805FA}" type="pres">
      <dgm:prSet presAssocID="{2AE2D8D5-B1FD-429B-9A74-339600444E56}" presName="connTx" presStyleLbl="parChTrans1D3" presStyleIdx="0" presStyleCnt="2"/>
      <dgm:spPr/>
    </dgm:pt>
    <dgm:pt modelId="{E1998678-F90A-4108-A6CD-2E949A022B09}" type="pres">
      <dgm:prSet presAssocID="{BB78C94D-A7A5-4581-A07D-61495ED1A577}" presName="root2" presStyleCnt="0"/>
      <dgm:spPr/>
    </dgm:pt>
    <dgm:pt modelId="{4E2DBFD4-FA77-458F-9400-C86C54917A87}" type="pres">
      <dgm:prSet presAssocID="{BB78C94D-A7A5-4581-A07D-61495ED1A577}" presName="LevelTwoTextNode" presStyleLbl="node3" presStyleIdx="0" presStyleCnt="2" custScaleY="179817">
        <dgm:presLayoutVars>
          <dgm:chPref val="3"/>
        </dgm:presLayoutVars>
      </dgm:prSet>
      <dgm:spPr/>
    </dgm:pt>
    <dgm:pt modelId="{FDC3675B-F0A4-4E8D-A869-3133F5139F5A}" type="pres">
      <dgm:prSet presAssocID="{BB78C94D-A7A5-4581-A07D-61495ED1A577}" presName="level3hierChild" presStyleCnt="0"/>
      <dgm:spPr/>
    </dgm:pt>
    <dgm:pt modelId="{4584A927-83EC-4107-BB58-66F558E0A3E4}" type="pres">
      <dgm:prSet presAssocID="{B4A46493-367D-4E1B-BF97-0F89608FBE79}" presName="conn2-1" presStyleLbl="parChTrans1D2" presStyleIdx="1" presStyleCnt="2"/>
      <dgm:spPr/>
    </dgm:pt>
    <dgm:pt modelId="{3C97C05B-32BB-483E-AA5B-8636BC215FA5}" type="pres">
      <dgm:prSet presAssocID="{B4A46493-367D-4E1B-BF97-0F89608FBE79}" presName="connTx" presStyleLbl="parChTrans1D2" presStyleIdx="1" presStyleCnt="2"/>
      <dgm:spPr/>
    </dgm:pt>
    <dgm:pt modelId="{B2F17747-276F-47ED-9E51-7C117FB1CA39}" type="pres">
      <dgm:prSet presAssocID="{168C987C-E06E-4D3B-B98F-A0F03DDF8CCC}" presName="root2" presStyleCnt="0"/>
      <dgm:spPr/>
    </dgm:pt>
    <dgm:pt modelId="{1DE5469D-3F62-492E-B462-E768A678FD70}" type="pres">
      <dgm:prSet presAssocID="{168C987C-E06E-4D3B-B98F-A0F03DDF8CCC}" presName="LevelTwoTextNode" presStyleLbl="node2" presStyleIdx="1" presStyleCnt="2">
        <dgm:presLayoutVars>
          <dgm:chPref val="3"/>
        </dgm:presLayoutVars>
      </dgm:prSet>
      <dgm:spPr/>
    </dgm:pt>
    <dgm:pt modelId="{599CC8C0-2800-4A2B-BF0A-DCF351B0576F}" type="pres">
      <dgm:prSet presAssocID="{168C987C-E06E-4D3B-B98F-A0F03DDF8CCC}" presName="level3hierChild" presStyleCnt="0"/>
      <dgm:spPr/>
    </dgm:pt>
    <dgm:pt modelId="{D71149AB-8C33-44E5-AFC0-81D299B748B1}" type="pres">
      <dgm:prSet presAssocID="{EB289F67-5626-4082-9128-8BB92B6F96F8}" presName="conn2-1" presStyleLbl="parChTrans1D3" presStyleIdx="1" presStyleCnt="2"/>
      <dgm:spPr/>
    </dgm:pt>
    <dgm:pt modelId="{7B10EFDF-B31D-4852-B5EB-408CFE0BC768}" type="pres">
      <dgm:prSet presAssocID="{EB289F67-5626-4082-9128-8BB92B6F96F8}" presName="connTx" presStyleLbl="parChTrans1D3" presStyleIdx="1" presStyleCnt="2"/>
      <dgm:spPr/>
    </dgm:pt>
    <dgm:pt modelId="{8A194E69-88E8-4D0B-97DA-FDCB10F96BD9}" type="pres">
      <dgm:prSet presAssocID="{0932CB11-A1E1-48D1-BA0B-D5D20C8B5186}" presName="root2" presStyleCnt="0"/>
      <dgm:spPr/>
    </dgm:pt>
    <dgm:pt modelId="{7A16638E-AC9C-4B69-B64A-E37D74F1DA0B}" type="pres">
      <dgm:prSet presAssocID="{0932CB11-A1E1-48D1-BA0B-D5D20C8B5186}" presName="LevelTwoTextNode" presStyleLbl="node3" presStyleIdx="1" presStyleCnt="2" custScaleY="181086">
        <dgm:presLayoutVars>
          <dgm:chPref val="3"/>
        </dgm:presLayoutVars>
      </dgm:prSet>
      <dgm:spPr/>
    </dgm:pt>
    <dgm:pt modelId="{0958DA7C-6E12-444F-917C-D4EEA8CA2248}" type="pres">
      <dgm:prSet presAssocID="{0932CB11-A1E1-48D1-BA0B-D5D20C8B5186}" presName="level3hierChild" presStyleCnt="0"/>
      <dgm:spPr/>
    </dgm:pt>
  </dgm:ptLst>
  <dgm:cxnLst>
    <dgm:cxn modelId="{6D040402-2DCB-4541-AE37-0F519AF481F4}" type="presOf" srcId="{5B1F95FE-C367-466D-B3F1-EDAF2A62A7FB}" destId="{19F7D22D-0397-4452-9A30-6A7FEDAFE86F}" srcOrd="0" destOrd="0" presId="urn:microsoft.com/office/officeart/2005/8/layout/hierarchy2"/>
    <dgm:cxn modelId="{0B272202-D696-4B57-A17D-73BB6BEA20D2}" srcId="{16E38747-67FB-46C2-976A-3965065CFDAB}" destId="{16FE0A6B-3917-46A1-BCA8-2149E4FB76D4}" srcOrd="0" destOrd="0" parTransId="{DC806D55-6893-4764-B276-C04BC6B7B12C}" sibTransId="{C925F6EB-E72E-46F8-8D27-6CB46FCC66A0}"/>
    <dgm:cxn modelId="{154B3732-8D28-407A-B7B7-911BB7EAC43E}" type="presOf" srcId="{0932CB11-A1E1-48D1-BA0B-D5D20C8B5186}" destId="{7A16638E-AC9C-4B69-B64A-E37D74F1DA0B}" srcOrd="0" destOrd="0" presId="urn:microsoft.com/office/officeart/2005/8/layout/hierarchy2"/>
    <dgm:cxn modelId="{E446FD32-881A-4CCD-A568-994ADCF9DE7D}" type="presOf" srcId="{BB78C94D-A7A5-4581-A07D-61495ED1A577}" destId="{4E2DBFD4-FA77-458F-9400-C86C54917A87}" srcOrd="0" destOrd="0" presId="urn:microsoft.com/office/officeart/2005/8/layout/hierarchy2"/>
    <dgm:cxn modelId="{C8A3B53F-21E2-4195-B5F8-4B9F8C7C3FEE}" type="presOf" srcId="{EB289F67-5626-4082-9128-8BB92B6F96F8}" destId="{7B10EFDF-B31D-4852-B5EB-408CFE0BC768}" srcOrd="1" destOrd="0" presId="urn:microsoft.com/office/officeart/2005/8/layout/hierarchy2"/>
    <dgm:cxn modelId="{1951E867-F721-4026-8946-170E36C4EB55}" type="presOf" srcId="{16E38747-67FB-46C2-976A-3965065CFDAB}" destId="{131C05D4-9B7F-4430-AA2D-9BEC6B229D5A}" srcOrd="0" destOrd="0" presId="urn:microsoft.com/office/officeart/2005/8/layout/hierarchy2"/>
    <dgm:cxn modelId="{E00B8369-7ED5-4DA5-8DA8-9377C14D6CFC}" type="presOf" srcId="{414C4A9F-3BBB-4020-B1CC-4A72DAB3D538}" destId="{A60A5FFC-372F-465F-9C42-3DEA89B49602}" srcOrd="0" destOrd="0" presId="urn:microsoft.com/office/officeart/2005/8/layout/hierarchy2"/>
    <dgm:cxn modelId="{7A407C6C-365E-4487-A969-BB07463D7636}" type="presOf" srcId="{EB289F67-5626-4082-9128-8BB92B6F96F8}" destId="{D71149AB-8C33-44E5-AFC0-81D299B748B1}" srcOrd="0" destOrd="0" presId="urn:microsoft.com/office/officeart/2005/8/layout/hierarchy2"/>
    <dgm:cxn modelId="{E7E4B94D-BEEE-4110-A37B-21621F31B008}" type="presOf" srcId="{168C987C-E06E-4D3B-B98F-A0F03DDF8CCC}" destId="{1DE5469D-3F62-492E-B462-E768A678FD70}" srcOrd="0" destOrd="0" presId="urn:microsoft.com/office/officeart/2005/8/layout/hierarchy2"/>
    <dgm:cxn modelId="{2EDCB94F-4AE2-480B-BBA6-7808420939B8}" type="presOf" srcId="{B4A46493-367D-4E1B-BF97-0F89608FBE79}" destId="{4584A927-83EC-4107-BB58-66F558E0A3E4}" srcOrd="0" destOrd="0" presId="urn:microsoft.com/office/officeart/2005/8/layout/hierarchy2"/>
    <dgm:cxn modelId="{9AE2F052-F531-4196-BDE9-5B24B8000E6A}" type="presOf" srcId="{414C4A9F-3BBB-4020-B1CC-4A72DAB3D538}" destId="{249EBF1B-867C-4781-B021-C70CDA13F67D}" srcOrd="1" destOrd="0" presId="urn:microsoft.com/office/officeart/2005/8/layout/hierarchy2"/>
    <dgm:cxn modelId="{D6879681-7CCB-4D9D-A985-BC0D62AF11BB}" type="presOf" srcId="{16FE0A6B-3917-46A1-BCA8-2149E4FB76D4}" destId="{943E57A5-277E-48E2-BDA1-019184D7A8AB}" srcOrd="0" destOrd="0" presId="urn:microsoft.com/office/officeart/2005/8/layout/hierarchy2"/>
    <dgm:cxn modelId="{98DFE293-EF8F-44E5-8B44-9E3E7102D0CC}" srcId="{168C987C-E06E-4D3B-B98F-A0F03DDF8CCC}" destId="{0932CB11-A1E1-48D1-BA0B-D5D20C8B5186}" srcOrd="0" destOrd="0" parTransId="{EB289F67-5626-4082-9128-8BB92B6F96F8}" sibTransId="{C6E73D70-FFE9-461A-9431-E9828F4AF7A2}"/>
    <dgm:cxn modelId="{A1ED5499-02A1-4D41-BF16-9D4400C5A309}" srcId="{16FE0A6B-3917-46A1-BCA8-2149E4FB76D4}" destId="{168C987C-E06E-4D3B-B98F-A0F03DDF8CCC}" srcOrd="1" destOrd="0" parTransId="{B4A46493-367D-4E1B-BF97-0F89608FBE79}" sibTransId="{D08DF3CC-A1B7-433C-9C73-D669EA221EF4}"/>
    <dgm:cxn modelId="{823BF3A0-F154-45F4-80D8-0C485AF7C564}" srcId="{5B1F95FE-C367-466D-B3F1-EDAF2A62A7FB}" destId="{BB78C94D-A7A5-4581-A07D-61495ED1A577}" srcOrd="0" destOrd="0" parTransId="{2AE2D8D5-B1FD-429B-9A74-339600444E56}" sibTransId="{B6950521-ADB7-43C5-8511-41281E73DB83}"/>
    <dgm:cxn modelId="{D4076CA3-63A1-4026-8873-6E16636D2498}" type="presOf" srcId="{2AE2D8D5-B1FD-429B-9A74-339600444E56}" destId="{715BCDC4-3331-4610-ABDD-74D484D7A6DF}" srcOrd="0" destOrd="0" presId="urn:microsoft.com/office/officeart/2005/8/layout/hierarchy2"/>
    <dgm:cxn modelId="{DA422BCC-6123-4D02-8E50-32ED56D1F316}" type="presOf" srcId="{2AE2D8D5-B1FD-429B-9A74-339600444E56}" destId="{EE3711AD-2AE7-48D1-85CE-062C291805FA}" srcOrd="1" destOrd="0" presId="urn:microsoft.com/office/officeart/2005/8/layout/hierarchy2"/>
    <dgm:cxn modelId="{79B6F7E8-268D-40A2-9125-2D5507AEC360}" srcId="{16FE0A6B-3917-46A1-BCA8-2149E4FB76D4}" destId="{5B1F95FE-C367-466D-B3F1-EDAF2A62A7FB}" srcOrd="0" destOrd="0" parTransId="{414C4A9F-3BBB-4020-B1CC-4A72DAB3D538}" sibTransId="{B00E18FF-91C1-4B11-BC82-F626876EE5BC}"/>
    <dgm:cxn modelId="{14ADDFFE-6688-41D7-8F71-9B25B915C190}" type="presOf" srcId="{B4A46493-367D-4E1B-BF97-0F89608FBE79}" destId="{3C97C05B-32BB-483E-AA5B-8636BC215FA5}" srcOrd="1" destOrd="0" presId="urn:microsoft.com/office/officeart/2005/8/layout/hierarchy2"/>
    <dgm:cxn modelId="{5DEC51BB-DFEA-469C-9645-08F2213A9AE8}" type="presParOf" srcId="{131C05D4-9B7F-4430-AA2D-9BEC6B229D5A}" destId="{B2081669-B61E-4F1B-ADE8-47527EE87686}" srcOrd="0" destOrd="0" presId="urn:microsoft.com/office/officeart/2005/8/layout/hierarchy2"/>
    <dgm:cxn modelId="{DA9655B9-D625-47CA-9C78-1B243B1F1948}" type="presParOf" srcId="{B2081669-B61E-4F1B-ADE8-47527EE87686}" destId="{943E57A5-277E-48E2-BDA1-019184D7A8AB}" srcOrd="0" destOrd="0" presId="urn:microsoft.com/office/officeart/2005/8/layout/hierarchy2"/>
    <dgm:cxn modelId="{A7BB7DA5-48C2-4EF6-915F-B7A4D82DA5C0}" type="presParOf" srcId="{B2081669-B61E-4F1B-ADE8-47527EE87686}" destId="{7B03A094-B206-4CE7-87A1-892C6F741D8F}" srcOrd="1" destOrd="0" presId="urn:microsoft.com/office/officeart/2005/8/layout/hierarchy2"/>
    <dgm:cxn modelId="{624ACCF7-C7BA-4E12-9E87-ADB43AA2224C}" type="presParOf" srcId="{7B03A094-B206-4CE7-87A1-892C6F741D8F}" destId="{A60A5FFC-372F-465F-9C42-3DEA89B49602}" srcOrd="0" destOrd="0" presId="urn:microsoft.com/office/officeart/2005/8/layout/hierarchy2"/>
    <dgm:cxn modelId="{6A9BF583-1B1D-4B9C-8452-154D1B91F5EE}" type="presParOf" srcId="{A60A5FFC-372F-465F-9C42-3DEA89B49602}" destId="{249EBF1B-867C-4781-B021-C70CDA13F67D}" srcOrd="0" destOrd="0" presId="urn:microsoft.com/office/officeart/2005/8/layout/hierarchy2"/>
    <dgm:cxn modelId="{8D305CB2-8E43-4008-88FE-B20BE157A809}" type="presParOf" srcId="{7B03A094-B206-4CE7-87A1-892C6F741D8F}" destId="{F6EB2F78-5CC6-41D3-93E3-AA8650B92D0E}" srcOrd="1" destOrd="0" presId="urn:microsoft.com/office/officeart/2005/8/layout/hierarchy2"/>
    <dgm:cxn modelId="{843EE2FD-C95D-41C9-B45F-51C8E239BB4C}" type="presParOf" srcId="{F6EB2F78-5CC6-41D3-93E3-AA8650B92D0E}" destId="{19F7D22D-0397-4452-9A30-6A7FEDAFE86F}" srcOrd="0" destOrd="0" presId="urn:microsoft.com/office/officeart/2005/8/layout/hierarchy2"/>
    <dgm:cxn modelId="{D3A9A3DA-2668-4196-ADBA-E6932147A3E8}" type="presParOf" srcId="{F6EB2F78-5CC6-41D3-93E3-AA8650B92D0E}" destId="{30F3949C-EA6B-42FD-A6E3-589C6B87842E}" srcOrd="1" destOrd="0" presId="urn:microsoft.com/office/officeart/2005/8/layout/hierarchy2"/>
    <dgm:cxn modelId="{84E37062-A89C-42D4-9461-3225CB1C9B74}" type="presParOf" srcId="{30F3949C-EA6B-42FD-A6E3-589C6B87842E}" destId="{715BCDC4-3331-4610-ABDD-74D484D7A6DF}" srcOrd="0" destOrd="0" presId="urn:microsoft.com/office/officeart/2005/8/layout/hierarchy2"/>
    <dgm:cxn modelId="{813B0F89-2041-442E-B0C8-77D95A3F4274}" type="presParOf" srcId="{715BCDC4-3331-4610-ABDD-74D484D7A6DF}" destId="{EE3711AD-2AE7-48D1-85CE-062C291805FA}" srcOrd="0" destOrd="0" presId="urn:microsoft.com/office/officeart/2005/8/layout/hierarchy2"/>
    <dgm:cxn modelId="{CAE055F0-0A17-4019-B741-34F8C49E1EAF}" type="presParOf" srcId="{30F3949C-EA6B-42FD-A6E3-589C6B87842E}" destId="{E1998678-F90A-4108-A6CD-2E949A022B09}" srcOrd="1" destOrd="0" presId="urn:microsoft.com/office/officeart/2005/8/layout/hierarchy2"/>
    <dgm:cxn modelId="{25CD2140-C372-4B37-9615-A9B663E1BA82}" type="presParOf" srcId="{E1998678-F90A-4108-A6CD-2E949A022B09}" destId="{4E2DBFD4-FA77-458F-9400-C86C54917A87}" srcOrd="0" destOrd="0" presId="urn:microsoft.com/office/officeart/2005/8/layout/hierarchy2"/>
    <dgm:cxn modelId="{D8F6E87E-1581-4682-AECA-23B6CB4E2247}" type="presParOf" srcId="{E1998678-F90A-4108-A6CD-2E949A022B09}" destId="{FDC3675B-F0A4-4E8D-A869-3133F5139F5A}" srcOrd="1" destOrd="0" presId="urn:microsoft.com/office/officeart/2005/8/layout/hierarchy2"/>
    <dgm:cxn modelId="{44712EC6-540B-4AA7-B828-2D2A3F4B02CF}" type="presParOf" srcId="{7B03A094-B206-4CE7-87A1-892C6F741D8F}" destId="{4584A927-83EC-4107-BB58-66F558E0A3E4}" srcOrd="2" destOrd="0" presId="urn:microsoft.com/office/officeart/2005/8/layout/hierarchy2"/>
    <dgm:cxn modelId="{3C225455-1698-42F5-94B4-31C5779B1560}" type="presParOf" srcId="{4584A927-83EC-4107-BB58-66F558E0A3E4}" destId="{3C97C05B-32BB-483E-AA5B-8636BC215FA5}" srcOrd="0" destOrd="0" presId="urn:microsoft.com/office/officeart/2005/8/layout/hierarchy2"/>
    <dgm:cxn modelId="{2E2422CE-CF65-4E08-B171-FACAA0521A5E}" type="presParOf" srcId="{7B03A094-B206-4CE7-87A1-892C6F741D8F}" destId="{B2F17747-276F-47ED-9E51-7C117FB1CA39}" srcOrd="3" destOrd="0" presId="urn:microsoft.com/office/officeart/2005/8/layout/hierarchy2"/>
    <dgm:cxn modelId="{FAD3AA45-5485-4A2D-A660-C8092B400FA1}" type="presParOf" srcId="{B2F17747-276F-47ED-9E51-7C117FB1CA39}" destId="{1DE5469D-3F62-492E-B462-E768A678FD70}" srcOrd="0" destOrd="0" presId="urn:microsoft.com/office/officeart/2005/8/layout/hierarchy2"/>
    <dgm:cxn modelId="{25CF8519-7657-4DA2-9796-E2B30583644E}" type="presParOf" srcId="{B2F17747-276F-47ED-9E51-7C117FB1CA39}" destId="{599CC8C0-2800-4A2B-BF0A-DCF351B0576F}" srcOrd="1" destOrd="0" presId="urn:microsoft.com/office/officeart/2005/8/layout/hierarchy2"/>
    <dgm:cxn modelId="{A5DF5E4E-4F14-4027-A2FE-F66A53900EDB}" type="presParOf" srcId="{599CC8C0-2800-4A2B-BF0A-DCF351B0576F}" destId="{D71149AB-8C33-44E5-AFC0-81D299B748B1}" srcOrd="0" destOrd="0" presId="urn:microsoft.com/office/officeart/2005/8/layout/hierarchy2"/>
    <dgm:cxn modelId="{5EB7F002-7D10-4BCA-9112-43F8338A250E}" type="presParOf" srcId="{D71149AB-8C33-44E5-AFC0-81D299B748B1}" destId="{7B10EFDF-B31D-4852-B5EB-408CFE0BC768}" srcOrd="0" destOrd="0" presId="urn:microsoft.com/office/officeart/2005/8/layout/hierarchy2"/>
    <dgm:cxn modelId="{A269AFF6-F340-401D-B53A-4C4B7688AE57}" type="presParOf" srcId="{599CC8C0-2800-4A2B-BF0A-DCF351B0576F}" destId="{8A194E69-88E8-4D0B-97DA-FDCB10F96BD9}" srcOrd="1" destOrd="0" presId="urn:microsoft.com/office/officeart/2005/8/layout/hierarchy2"/>
    <dgm:cxn modelId="{41AA878F-5AA0-4804-9299-A3E8BC19D894}" type="presParOf" srcId="{8A194E69-88E8-4D0B-97DA-FDCB10F96BD9}" destId="{7A16638E-AC9C-4B69-B64A-E37D74F1DA0B}" srcOrd="0" destOrd="0" presId="urn:microsoft.com/office/officeart/2005/8/layout/hierarchy2"/>
    <dgm:cxn modelId="{B9CDE943-A331-433C-A324-71458107EA3D}" type="presParOf" srcId="{8A194E69-88E8-4D0B-97DA-FDCB10F96BD9}" destId="{0958DA7C-6E12-444F-917C-D4EEA8CA224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3E57A5-277E-48E2-BDA1-019184D7A8AB}">
      <dsp:nvSpPr>
        <dsp:cNvPr id="0" name=""/>
        <dsp:cNvSpPr/>
      </dsp:nvSpPr>
      <dsp:spPr>
        <a:xfrm>
          <a:off x="4242" y="1650256"/>
          <a:ext cx="2142219" cy="10711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 dirty="0" err="1"/>
            <a:t>Social</a:t>
          </a:r>
          <a:r>
            <a:rPr lang="de-DE" sz="2400" b="1" kern="1200" dirty="0"/>
            <a:t> Media</a:t>
          </a:r>
        </a:p>
      </dsp:txBody>
      <dsp:txXfrm>
        <a:off x="35614" y="1681628"/>
        <a:ext cx="2079475" cy="1008365"/>
      </dsp:txXfrm>
    </dsp:sp>
    <dsp:sp modelId="{A60A5FFC-372F-465F-9C42-3DEA89B49602}">
      <dsp:nvSpPr>
        <dsp:cNvPr id="0" name=""/>
        <dsp:cNvSpPr/>
      </dsp:nvSpPr>
      <dsp:spPr>
        <a:xfrm rot="18558261">
          <a:off x="1898528" y="1640418"/>
          <a:ext cx="1352753" cy="44034"/>
        </a:xfrm>
        <a:custGeom>
          <a:avLst/>
          <a:gdLst/>
          <a:ahLst/>
          <a:cxnLst/>
          <a:rect l="0" t="0" r="0" b="0"/>
          <a:pathLst>
            <a:path>
              <a:moveTo>
                <a:pt x="0" y="22017"/>
              </a:moveTo>
              <a:lnTo>
                <a:pt x="1352753" y="2201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b="1" kern="1200"/>
        </a:p>
      </dsp:txBody>
      <dsp:txXfrm>
        <a:off x="2541086" y="1628617"/>
        <a:ext cx="67637" cy="67637"/>
      </dsp:txXfrm>
    </dsp:sp>
    <dsp:sp modelId="{19F7D22D-0397-4452-9A30-6A7FEDAFE86F}">
      <dsp:nvSpPr>
        <dsp:cNvPr id="0" name=""/>
        <dsp:cNvSpPr/>
      </dsp:nvSpPr>
      <dsp:spPr>
        <a:xfrm>
          <a:off x="3003349" y="603506"/>
          <a:ext cx="2142219" cy="10711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Digital Media</a:t>
          </a:r>
        </a:p>
      </dsp:txBody>
      <dsp:txXfrm>
        <a:off x="3034721" y="634878"/>
        <a:ext cx="2079475" cy="1008365"/>
      </dsp:txXfrm>
    </dsp:sp>
    <dsp:sp modelId="{715BCDC4-3331-4610-ABDD-74D484D7A6DF}">
      <dsp:nvSpPr>
        <dsp:cNvPr id="0" name=""/>
        <dsp:cNvSpPr/>
      </dsp:nvSpPr>
      <dsp:spPr>
        <a:xfrm>
          <a:off x="5145568" y="1117044"/>
          <a:ext cx="856887" cy="44034"/>
        </a:xfrm>
        <a:custGeom>
          <a:avLst/>
          <a:gdLst/>
          <a:ahLst/>
          <a:cxnLst/>
          <a:rect l="0" t="0" r="0" b="0"/>
          <a:pathLst>
            <a:path>
              <a:moveTo>
                <a:pt x="0" y="22017"/>
              </a:moveTo>
              <a:lnTo>
                <a:pt x="856887" y="2201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b="1" kern="1200"/>
        </a:p>
      </dsp:txBody>
      <dsp:txXfrm>
        <a:off x="5552590" y="1117638"/>
        <a:ext cx="42844" cy="42844"/>
      </dsp:txXfrm>
    </dsp:sp>
    <dsp:sp modelId="{4E2DBFD4-FA77-458F-9400-C86C54917A87}">
      <dsp:nvSpPr>
        <dsp:cNvPr id="0" name=""/>
        <dsp:cNvSpPr/>
      </dsp:nvSpPr>
      <dsp:spPr>
        <a:xfrm>
          <a:off x="6002456" y="176042"/>
          <a:ext cx="2142219" cy="19260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79388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kern="1200" dirty="0"/>
            <a:t>Internet</a:t>
          </a:r>
          <a:br>
            <a:rPr lang="de-DE" sz="1400" b="0" kern="1200" dirty="0"/>
          </a:br>
          <a:r>
            <a:rPr lang="de-DE" sz="1400" b="0" kern="1200" dirty="0" err="1"/>
            <a:t>world</a:t>
          </a:r>
          <a:r>
            <a:rPr lang="de-DE" sz="1400" b="0" kern="1200" dirty="0"/>
            <a:t>-</a:t>
          </a:r>
          <a:r>
            <a:rPr lang="de-DE" sz="1400" b="0" kern="1200" dirty="0" err="1"/>
            <a:t>wide</a:t>
          </a:r>
          <a:r>
            <a:rPr lang="de-DE" sz="1400" b="0" kern="1200" dirty="0"/>
            <a:t>-web</a:t>
          </a:r>
          <a:br>
            <a:rPr lang="de-DE" sz="1400" b="0" kern="1200" dirty="0"/>
          </a:br>
          <a:r>
            <a:rPr lang="de-DE" sz="1400" b="0" kern="1200" dirty="0"/>
            <a:t>Computer Games</a:t>
          </a:r>
          <a:br>
            <a:rPr lang="de-DE" sz="1400" b="0" kern="1200" dirty="0"/>
          </a:br>
          <a:r>
            <a:rPr lang="de-DE" sz="1400" b="0" kern="1200" dirty="0"/>
            <a:t>Mobiles</a:t>
          </a:r>
          <a:br>
            <a:rPr lang="de-DE" sz="1400" b="0" kern="1200" dirty="0"/>
          </a:br>
          <a:r>
            <a:rPr lang="de-DE" sz="1400" b="0" kern="1200" dirty="0"/>
            <a:t>Showrooms</a:t>
          </a:r>
          <a:br>
            <a:rPr lang="de-DE" sz="1400" b="0" kern="1200" dirty="0"/>
          </a:br>
          <a:r>
            <a:rPr lang="de-DE" sz="1400" b="0" kern="1200" dirty="0"/>
            <a:t>Whiteboards</a:t>
          </a:r>
          <a:br>
            <a:rPr lang="de-DE" sz="1400" b="0" kern="1200" dirty="0"/>
          </a:br>
          <a:r>
            <a:rPr lang="de-DE" sz="1400" b="0" kern="1200" dirty="0"/>
            <a:t>…</a:t>
          </a:r>
        </a:p>
      </dsp:txBody>
      <dsp:txXfrm>
        <a:off x="6058868" y="232454"/>
        <a:ext cx="2029395" cy="1813213"/>
      </dsp:txXfrm>
    </dsp:sp>
    <dsp:sp modelId="{4584A927-83EC-4107-BB58-66F558E0A3E4}">
      <dsp:nvSpPr>
        <dsp:cNvPr id="0" name=""/>
        <dsp:cNvSpPr/>
      </dsp:nvSpPr>
      <dsp:spPr>
        <a:xfrm rot="3041739">
          <a:off x="1898528" y="2687168"/>
          <a:ext cx="1352753" cy="44034"/>
        </a:xfrm>
        <a:custGeom>
          <a:avLst/>
          <a:gdLst/>
          <a:ahLst/>
          <a:cxnLst/>
          <a:rect l="0" t="0" r="0" b="0"/>
          <a:pathLst>
            <a:path>
              <a:moveTo>
                <a:pt x="0" y="22017"/>
              </a:moveTo>
              <a:lnTo>
                <a:pt x="1352753" y="2201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b="1" kern="1200"/>
        </a:p>
      </dsp:txBody>
      <dsp:txXfrm>
        <a:off x="2541086" y="2675366"/>
        <a:ext cx="67637" cy="67637"/>
      </dsp:txXfrm>
    </dsp:sp>
    <dsp:sp modelId="{1DE5469D-3F62-492E-B462-E768A678FD70}">
      <dsp:nvSpPr>
        <dsp:cNvPr id="0" name=""/>
        <dsp:cNvSpPr/>
      </dsp:nvSpPr>
      <dsp:spPr>
        <a:xfrm>
          <a:off x="3003349" y="2697005"/>
          <a:ext cx="2142219" cy="10711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Technologies/              </a:t>
          </a:r>
          <a:r>
            <a:rPr lang="de-DE" sz="2000" b="1" kern="1200" dirty="0" err="1"/>
            <a:t>Social</a:t>
          </a:r>
          <a:r>
            <a:rPr lang="de-DE" sz="2000" b="1" kern="1200" dirty="0"/>
            <a:t> Software</a:t>
          </a:r>
        </a:p>
      </dsp:txBody>
      <dsp:txXfrm>
        <a:off x="3034721" y="2728377"/>
        <a:ext cx="2079475" cy="1008365"/>
      </dsp:txXfrm>
    </dsp:sp>
    <dsp:sp modelId="{D71149AB-8C33-44E5-AFC0-81D299B748B1}">
      <dsp:nvSpPr>
        <dsp:cNvPr id="0" name=""/>
        <dsp:cNvSpPr/>
      </dsp:nvSpPr>
      <dsp:spPr>
        <a:xfrm>
          <a:off x="5145568" y="3210543"/>
          <a:ext cx="856887" cy="44034"/>
        </a:xfrm>
        <a:custGeom>
          <a:avLst/>
          <a:gdLst/>
          <a:ahLst/>
          <a:cxnLst/>
          <a:rect l="0" t="0" r="0" b="0"/>
          <a:pathLst>
            <a:path>
              <a:moveTo>
                <a:pt x="0" y="22017"/>
              </a:moveTo>
              <a:lnTo>
                <a:pt x="856887" y="2201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b="1" kern="1200"/>
        </a:p>
      </dsp:txBody>
      <dsp:txXfrm>
        <a:off x="5552590" y="3211138"/>
        <a:ext cx="42844" cy="42844"/>
      </dsp:txXfrm>
    </dsp:sp>
    <dsp:sp modelId="{7A16638E-AC9C-4B69-B64A-E37D74F1DA0B}">
      <dsp:nvSpPr>
        <dsp:cNvPr id="0" name=""/>
        <dsp:cNvSpPr/>
      </dsp:nvSpPr>
      <dsp:spPr>
        <a:xfrm>
          <a:off x="6002456" y="2262746"/>
          <a:ext cx="2142219" cy="19396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79388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kern="1200" dirty="0"/>
            <a:t>Wikis</a:t>
          </a:r>
          <a:br>
            <a:rPr lang="de-DE" sz="1400" b="1" kern="1200" dirty="0"/>
          </a:br>
          <a:r>
            <a:rPr lang="de-DE" sz="1400" b="0" kern="1200" dirty="0"/>
            <a:t>Blogs</a:t>
          </a:r>
          <a:br>
            <a:rPr lang="de-DE" sz="1400" b="0" kern="1200" dirty="0"/>
          </a:br>
          <a:r>
            <a:rPr lang="de-DE" sz="1400" b="0" kern="1200" dirty="0"/>
            <a:t>Instant Messaging</a:t>
          </a:r>
          <a:br>
            <a:rPr lang="de-DE" sz="1400" b="0" kern="1200" dirty="0"/>
          </a:br>
          <a:r>
            <a:rPr lang="de-DE" sz="1400" b="0" kern="1200" dirty="0"/>
            <a:t>Collaborative Writing</a:t>
          </a:r>
          <a:br>
            <a:rPr lang="de-DE" sz="1400" b="0" kern="1200" dirty="0"/>
          </a:br>
          <a:r>
            <a:rPr lang="de-DE" sz="1400" b="0" kern="1200" dirty="0"/>
            <a:t>Internet Forum</a:t>
          </a:r>
          <a:br>
            <a:rPr lang="de-DE" sz="1400" b="0" kern="1200" dirty="0"/>
          </a:br>
          <a:r>
            <a:rPr lang="de-DE" sz="1400" b="0" kern="1200" dirty="0" err="1"/>
            <a:t>Social</a:t>
          </a:r>
          <a:r>
            <a:rPr lang="de-DE" sz="1400" b="0" kern="1200" dirty="0"/>
            <a:t> Network</a:t>
          </a:r>
          <a:br>
            <a:rPr lang="de-DE" sz="1400" b="0" kern="1200" dirty="0"/>
          </a:br>
          <a:r>
            <a:rPr lang="de-DE" sz="1400" b="0" kern="1200" dirty="0"/>
            <a:t>Massive Multiplayer Online Games (MOOG)</a:t>
          </a:r>
          <a:br>
            <a:rPr lang="de-DE" sz="1400" b="0" kern="1200" dirty="0"/>
          </a:br>
          <a:r>
            <a:rPr lang="de-DE" sz="1400" b="0" kern="1200" dirty="0"/>
            <a:t>…</a:t>
          </a:r>
        </a:p>
      </dsp:txBody>
      <dsp:txXfrm>
        <a:off x="6059266" y="2319556"/>
        <a:ext cx="2028599" cy="18260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89D374-4ABF-4A74-B475-C217D3141879}" type="datetimeFigureOut">
              <a:rPr lang="hu-HU" smtClean="0"/>
              <a:t>2022. 05. 25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1" y="9428582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50443" y="9428582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7C6F45-C139-463C-B125-E14BFEA4D00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216542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C85964-301B-4E05-A0AC-A222FD1D8677}" type="datetimeFigureOut">
              <a:rPr lang="hu-HU" smtClean="0"/>
              <a:t>2022. 05. 25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1" y="9428582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0443" y="9428582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CD048-3DD1-4962-B730-99E29D05AA1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71999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D048-3DD1-4962-B730-99E29D05AA1F}" type="slidenum">
              <a:rPr lang="hu-HU" smtClean="0"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18625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3923D-B9BF-9F44-A2FF-065E37B81C7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152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46088" y="439738"/>
            <a:ext cx="7991476" cy="44958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95" indent="0" defTabSz="806970">
              <a:spcAft>
                <a:spcPts val="312"/>
              </a:spcAft>
              <a:buClr>
                <a:schemeClr val="accent1"/>
              </a:buClr>
              <a:buFont typeface="Wingdings" pitchFamily="2" charset="2"/>
              <a:buNone/>
            </a:pPr>
            <a:endParaRPr lang="en-SG" sz="15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857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447675" y="438150"/>
            <a:ext cx="7994650" cy="4497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6003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dia - egy sor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1522800" y="1711354"/>
            <a:ext cx="10080000" cy="880844"/>
          </a:xfrm>
          <a:prstGeom prst="rect">
            <a:avLst/>
          </a:prstGeom>
        </p:spPr>
        <p:txBody>
          <a:bodyPr anchor="b"/>
          <a:lstStyle>
            <a:lvl1pPr algn="l">
              <a:defRPr sz="6000" cap="all" baseline="0">
                <a:solidFill>
                  <a:schemeClr val="tx1"/>
                </a:solidFill>
                <a:latin typeface="Garamond" pitchFamily="18" charset="0"/>
              </a:defRPr>
            </a:lvl1pPr>
          </a:lstStyle>
          <a:p>
            <a:r>
              <a:rPr lang="hu-HU"/>
              <a:t>A prezentáció cím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1522800" y="2734812"/>
            <a:ext cx="10080000" cy="7298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 b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Alcíme egy sorb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43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1454400" y="1519200"/>
            <a:ext cx="6805345" cy="3700500"/>
          </a:xfrm>
          <a:prstGeom prst="rect">
            <a:avLst/>
          </a:prstGeom>
        </p:spPr>
        <p:txBody>
          <a:bodyPr vert="eaVert"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>
          <a:xfrm>
            <a:off x="8391525" y="1524001"/>
            <a:ext cx="2200274" cy="3629024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  <p:txBody>
          <a:bodyPr vert="vert"/>
          <a:lstStyle>
            <a:lvl1pPr>
              <a:defRPr sz="3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57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rezentáció Címe"/>
          <p:cNvSpPr txBox="1">
            <a:spLocks noGrp="1"/>
          </p:cNvSpPr>
          <p:nvPr>
            <p:ph type="title" hasCustomPrompt="1"/>
          </p:nvPr>
        </p:nvSpPr>
        <p:spPr>
          <a:xfrm>
            <a:off x="5994400" y="2286000"/>
            <a:ext cx="5892800" cy="1143000"/>
          </a:xfrm>
          <a:prstGeom prst="rect">
            <a:avLst/>
          </a:prstGeom>
        </p:spPr>
        <p:txBody>
          <a:bodyPr anchor="t"/>
          <a:lstStyle>
            <a:lvl1pPr>
              <a:defRPr sz="4400"/>
            </a:lvl1pPr>
          </a:lstStyle>
          <a:p>
            <a:r>
              <a:t>Prezentáció Címe</a:t>
            </a:r>
          </a:p>
        </p:txBody>
      </p:sp>
      <p:sp>
        <p:nvSpPr>
          <p:cNvPr id="9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994400" y="3886200"/>
            <a:ext cx="5791200" cy="914400"/>
          </a:xfrm>
          <a:prstGeom prst="rect">
            <a:avLst/>
          </a:prstGeom>
        </p:spPr>
        <p:txBody>
          <a:bodyPr/>
          <a:lstStyle>
            <a:lvl1pPr marL="514350" indent="-514350">
              <a:buSzTx/>
              <a:buFontTx/>
              <a:buNone/>
              <a:defRPr cap="all">
                <a:solidFill>
                  <a:srgbClr val="FFFFFF"/>
                </a:solidFill>
              </a:defRPr>
            </a:lvl1pPr>
            <a:lvl2pPr marL="514350" indent="-57150">
              <a:buSzTx/>
              <a:buFontTx/>
              <a:buNone/>
              <a:defRPr cap="all">
                <a:solidFill>
                  <a:srgbClr val="FFFFFF"/>
                </a:solidFill>
              </a:defRPr>
            </a:lvl2pPr>
            <a:lvl3pPr>
              <a:buFontTx/>
              <a:defRPr cap="all">
                <a:solidFill>
                  <a:srgbClr val="FFFFFF"/>
                </a:solidFill>
              </a:defRPr>
            </a:lvl3pPr>
            <a:lvl4pPr>
              <a:buFontTx/>
              <a:defRPr cap="all">
                <a:solidFill>
                  <a:srgbClr val="FFFFFF"/>
                </a:solidFill>
              </a:defRPr>
            </a:lvl4pPr>
            <a:lvl5pPr>
              <a:buFontTx/>
              <a:defRPr cap="all">
                <a:solidFill>
                  <a:srgbClr val="FFFFFF"/>
                </a:solidFill>
              </a:defRPr>
            </a:lvl5pPr>
          </a:lstStyle>
          <a:p>
            <a:r>
              <a:t>Click to edit Alcím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72728" y="6224225"/>
            <a:ext cx="364872" cy="26425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407611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72728" y="6224225"/>
            <a:ext cx="364872" cy="26425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502259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62" b="0" i="0">
                <a:solidFill>
                  <a:schemeClr val="bg1"/>
                </a:solidFill>
                <a:latin typeface="LM Sans 17"/>
                <a:cs typeface="LM Sans 17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180" b="0" i="0">
                <a:solidFill>
                  <a:srgbClr val="3333B2"/>
                </a:solidFill>
                <a:latin typeface="LM Sans 10"/>
                <a:cs typeface="LM Sans 1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Orosz Tamás - TKP 2022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22259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9144000" h="5143500">
                <a:moveTo>
                  <a:pt x="9143981" y="5143489"/>
                </a:moveTo>
                <a:lnTo>
                  <a:pt x="0" y="5143489"/>
                </a:lnTo>
                <a:lnTo>
                  <a:pt x="0" y="0"/>
                </a:lnTo>
                <a:lnTo>
                  <a:pt x="9143981" y="0"/>
                </a:lnTo>
                <a:lnTo>
                  <a:pt x="9143981" y="5143489"/>
                </a:lnTo>
                <a:close/>
              </a:path>
            </a:pathLst>
          </a:custGeom>
          <a:solidFill>
            <a:srgbClr val="4285F4"/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172856" y="2314553"/>
            <a:ext cx="9846285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bg1"/>
                </a:solidFill>
                <a:latin typeface="RobotoRegular"/>
                <a:cs typeface="RobotoRegular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3916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Orosz Tamás - TKP 2022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11594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&lt;Agenda&gt;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gray">
          <a:xfrm>
            <a:off x="432000" y="1690688"/>
            <a:ext cx="11328000" cy="4391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313301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 bwMode="gray">
          <a:xfrm>
            <a:off x="432000" y="1690688"/>
            <a:ext cx="11328000" cy="4391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&lt;Page titl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6636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1"/>
          </p:nvPr>
        </p:nvSpPr>
        <p:spPr bwMode="gray">
          <a:xfrm>
            <a:off x="432000" y="1690688"/>
            <a:ext cx="5553600" cy="4391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gray">
          <a:xfrm>
            <a:off x="6206400" y="1690688"/>
            <a:ext cx="5553600" cy="4391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&lt;Page titl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0694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E464B05-4D02-4A4D-9267-0541C0FD0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50950"/>
            <a:ext cx="10515600" cy="556101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1DBF87-7255-594B-B8D5-7346664AC2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808779"/>
            <a:ext cx="10515600" cy="488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 b="0" i="0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776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66255" y="993600"/>
            <a:ext cx="12169832" cy="4043913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latin typeface="Garamond" pitchFamily="18" charset="0"/>
              </a:defRPr>
            </a:lvl1pPr>
            <a:lvl2pPr>
              <a:buClrTx/>
              <a:defRPr>
                <a:latin typeface="Garamond" pitchFamily="18" charset="0"/>
              </a:defRPr>
            </a:lvl2pPr>
            <a:lvl3pPr>
              <a:buClrTx/>
              <a:defRPr>
                <a:latin typeface="Garamond" pitchFamily="18" charset="0"/>
              </a:defRPr>
            </a:lvl3pPr>
            <a:lvl4pPr>
              <a:buClrTx/>
              <a:defRPr>
                <a:latin typeface="Garamond" pitchFamily="18" charset="0"/>
              </a:defRPr>
            </a:lvl4pPr>
            <a:lvl5pPr>
              <a:buClrTx/>
              <a:defRPr>
                <a:latin typeface="Garamond" pitchFamily="18" charset="0"/>
              </a:defRPr>
            </a:lvl5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486000"/>
            <a:ext cx="10091651" cy="50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hu-HU" dirty="0"/>
            </a:lvl1pPr>
          </a:lstStyle>
          <a:p>
            <a:pPr lvl="0"/>
            <a:r>
              <a:rPr lang="hu-HU" noProof="0"/>
              <a:t>Mintacím szerkesztése</a:t>
            </a:r>
          </a:p>
        </p:txBody>
      </p:sp>
      <p:sp>
        <p:nvSpPr>
          <p:cNvPr id="4" name="Tartalom helye 2"/>
          <p:cNvSpPr>
            <a:spLocks noGrp="1"/>
          </p:cNvSpPr>
          <p:nvPr>
            <p:ph idx="10"/>
          </p:nvPr>
        </p:nvSpPr>
        <p:spPr>
          <a:xfrm>
            <a:off x="1" y="5037513"/>
            <a:ext cx="6267796" cy="1695796"/>
          </a:xfrm>
          <a:prstGeom prst="rect">
            <a:avLst/>
          </a:prstGeom>
        </p:spPr>
        <p:txBody>
          <a:bodyPr/>
          <a:lstStyle>
            <a:lvl1pPr>
              <a:buClrTx/>
              <a:defRPr>
                <a:latin typeface="Garamond" pitchFamily="18" charset="0"/>
              </a:defRPr>
            </a:lvl1pPr>
            <a:lvl2pPr>
              <a:buClrTx/>
              <a:defRPr>
                <a:latin typeface="Garamond" pitchFamily="18" charset="0"/>
              </a:defRPr>
            </a:lvl2pPr>
            <a:lvl3pPr>
              <a:buClrTx/>
              <a:defRPr>
                <a:latin typeface="Garamond" pitchFamily="18" charset="0"/>
              </a:defRPr>
            </a:lvl3pPr>
            <a:lvl4pPr>
              <a:buClrTx/>
              <a:defRPr>
                <a:latin typeface="Garamond" pitchFamily="18" charset="0"/>
              </a:defRPr>
            </a:lvl4pPr>
            <a:lvl5pPr>
              <a:buClrTx/>
              <a:defRPr>
                <a:latin typeface="Garamond" pitchFamily="18" charset="0"/>
              </a:defRPr>
            </a:lvl5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91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3966F-B282-48D7-AE69-92009AE5B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294" y="174625"/>
            <a:ext cx="10812505" cy="11445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RW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B6BA61-A23F-4ACA-83F0-3966B11A5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0A25DE-3AA6-405B-B295-62E4DF17A2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B300F-3504-4950-A5FA-A21BA5843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465464-F19C-4252-9964-DED8DD83E1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295" y="1443038"/>
            <a:ext cx="12079705" cy="3578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W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0202A39-B71D-4E8A-BE15-23F7FC4155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2713" y="5145088"/>
            <a:ext cx="6369050" cy="1160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W"/>
          </a:p>
        </p:txBody>
      </p:sp>
    </p:spTree>
    <p:extLst>
      <p:ext uri="{BB962C8B-B14F-4D97-AF65-F5344CB8AC3E}">
        <p14:creationId xmlns:p14="http://schemas.microsoft.com/office/powerpoint/2010/main" val="428701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38200" y="1690688"/>
            <a:ext cx="11480800" cy="3379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01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dia - két sor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1522800" y="1306279"/>
            <a:ext cx="10080000" cy="1845947"/>
          </a:xfrm>
          <a:prstGeom prst="rect">
            <a:avLst/>
          </a:prstGeom>
        </p:spPr>
        <p:txBody>
          <a:bodyPr anchor="b"/>
          <a:lstStyle>
            <a:lvl1pPr algn="l">
              <a:defRPr sz="6000" b="0" cap="all" baseline="0">
                <a:solidFill>
                  <a:schemeClr val="bg1"/>
                </a:solidFill>
                <a:latin typeface="Garamond" pitchFamily="18" charset="0"/>
              </a:defRPr>
            </a:lvl1pPr>
          </a:lstStyle>
          <a:p>
            <a:r>
              <a:rPr lang="hu-HU"/>
              <a:t>A prezentáció címe </a:t>
            </a:r>
            <a:br>
              <a:rPr lang="hu-HU"/>
            </a:br>
            <a:r>
              <a:rPr lang="hu-HU"/>
              <a:t>Két sorban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1522800" y="3261284"/>
            <a:ext cx="10080000" cy="8786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Alcíme</a:t>
            </a:r>
            <a:br>
              <a:rPr lang="hu-HU"/>
            </a:br>
            <a:r>
              <a:rPr lang="hu-HU"/>
              <a:t>két sorba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54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1454400" y="1519200"/>
            <a:ext cx="4500000" cy="364335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30800" y="1519200"/>
            <a:ext cx="4500000" cy="364335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68800" y="486000"/>
            <a:ext cx="8784000" cy="507600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86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1454401" y="1519200"/>
            <a:ext cx="450000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1454401" y="2355168"/>
            <a:ext cx="4500000" cy="2816907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29511" y="1519200"/>
            <a:ext cx="450000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29511" y="2355168"/>
            <a:ext cx="4500000" cy="2816907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68800" y="486000"/>
            <a:ext cx="8784000" cy="507600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6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275386" y="1519200"/>
            <a:ext cx="5365818" cy="3633825"/>
          </a:xfrm>
          <a:prstGeom prst="rect">
            <a:avLst/>
          </a:prstGeom>
        </p:spPr>
        <p:txBody>
          <a:bodyPr/>
          <a:lstStyle>
            <a:lvl1pPr>
              <a:buClrTx/>
              <a:defRPr sz="3200"/>
            </a:lvl1pPr>
            <a:lvl2pPr>
              <a:buClrTx/>
              <a:defRPr sz="2800"/>
            </a:lvl2pPr>
            <a:lvl3pPr>
              <a:buClrTx/>
              <a:defRPr sz="2400"/>
            </a:lvl3pPr>
            <a:lvl4pPr>
              <a:buClrTx/>
              <a:defRPr sz="2000"/>
            </a:lvl4pPr>
            <a:lvl5pPr>
              <a:buClrTx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454401" y="1519200"/>
            <a:ext cx="3620018" cy="363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68800" y="486000"/>
            <a:ext cx="8784000" cy="507600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04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817996" y="1519200"/>
            <a:ext cx="4863401" cy="363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454400" y="1519200"/>
            <a:ext cx="3932237" cy="363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68800" y="486000"/>
            <a:ext cx="8784000" cy="507600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23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4700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57" y="12997"/>
            <a:ext cx="12342144" cy="683200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74625"/>
            <a:ext cx="10086599" cy="11445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32210"/>
            <a:ext cx="10566862" cy="38216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2022.05.26.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43200" y="6306127"/>
            <a:ext cx="3524596" cy="4153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rosz Tamás - TKP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92887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4F0811-A64E-4F03-A889-926C040EAF26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13" descr="ik_fejlec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487" y="0"/>
            <a:ext cx="1331912" cy="131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26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9" r:id="rId3"/>
    <p:sldLayoutId id="2147483685" r:id="rId4"/>
    <p:sldLayoutId id="2147483672" r:id="rId5"/>
    <p:sldLayoutId id="2147483677" r:id="rId6"/>
    <p:sldLayoutId id="2147483678" r:id="rId7"/>
    <p:sldLayoutId id="2147483680" r:id="rId8"/>
    <p:sldLayoutId id="2147483681" r:id="rId9"/>
    <p:sldLayoutId id="2147483683" r:id="rId10"/>
    <p:sldLayoutId id="2147483686" r:id="rId11"/>
    <p:sldLayoutId id="2147483688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aramond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aramond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aramond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orosztamas@inf.elte.hu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.xml"/><Relationship Id="rId7" Type="http://schemas.openxmlformats.org/officeDocument/2006/relationships/image" Target="../media/image1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.org/development/desa/disabilities/envision2030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hu-HU" sz="2800" b="1" dirty="0">
                <a:solidFill>
                  <a:srgbClr val="FF0000"/>
                </a:solidFill>
              </a:rPr>
              <a:t>üzleti folyamatok fenntartható fejl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pPr algn="ctr"/>
            <a:r>
              <a:rPr lang="hu-HU" sz="2400" b="1" dirty="0">
                <a:solidFill>
                  <a:srgbClr val="002060"/>
                </a:solidFill>
              </a:rPr>
              <a:t>SAP ESETTANULMÁNYOK</a:t>
            </a:r>
          </a:p>
          <a:p>
            <a:pPr algn="ctr"/>
            <a:r>
              <a:rPr lang="hu-HU" sz="2400" b="1" dirty="0">
                <a:solidFill>
                  <a:srgbClr val="002060"/>
                </a:solidFill>
              </a:rPr>
              <a:t>TKP 2022</a:t>
            </a:r>
          </a:p>
        </p:txBody>
      </p:sp>
      <p:pic>
        <p:nvPicPr>
          <p:cNvPr id="1026" name="Picture 2" descr="https://www.elte.hu/media/2e/7f/f78d4052ec5e196f902d4b8a91a4693d2e45edbb7574b47592ebedcf759d/elte_cimer_szin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5137374"/>
            <a:ext cx="1623527" cy="162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artalom helye 3">
            <a:extLst>
              <a:ext uri="{FF2B5EF4-FFF2-40B4-BE49-F238E27FC236}">
                <a16:creationId xmlns:a16="http://schemas.microsoft.com/office/drawing/2014/main" id="{FAEBD74C-4A78-4853-8392-DC89A67F023C}"/>
              </a:ext>
            </a:extLst>
          </p:cNvPr>
          <p:cNvSpPr txBox="1">
            <a:spLocks/>
          </p:cNvSpPr>
          <p:nvPr/>
        </p:nvSpPr>
        <p:spPr>
          <a:xfrm>
            <a:off x="1" y="1720626"/>
            <a:ext cx="8200102" cy="50126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500"/>
              </a:spcBef>
            </a:pPr>
            <a:endParaRPr lang="hu-HU" sz="2000" dirty="0">
              <a:solidFill>
                <a:srgbClr val="002060"/>
              </a:solidFill>
            </a:endParaRPr>
          </a:p>
          <a:p>
            <a:pPr lvl="1">
              <a:spcBef>
                <a:spcPts val="500"/>
              </a:spcBef>
            </a:pPr>
            <a:r>
              <a:rPr lang="hu-HU" sz="2000" dirty="0">
                <a:solidFill>
                  <a:srgbClr val="002060"/>
                </a:solidFill>
              </a:rPr>
              <a:t>Orosz Tamás</a:t>
            </a:r>
          </a:p>
          <a:p>
            <a:pPr lvl="1">
              <a:spcBef>
                <a:spcPts val="500"/>
              </a:spcBef>
            </a:pPr>
            <a:r>
              <a:rPr lang="hu-HU" sz="2000" dirty="0">
                <a:solidFill>
                  <a:srgbClr val="002060"/>
                </a:solidFill>
              </a:rPr>
              <a:t>Adattudományi és Adattechnológiai Tanszék</a:t>
            </a:r>
          </a:p>
          <a:p>
            <a:pPr lvl="1">
              <a:spcBef>
                <a:spcPts val="500"/>
              </a:spcBef>
            </a:pPr>
            <a:r>
              <a:rPr lang="hu-HU" sz="2000" dirty="0">
                <a:solidFill>
                  <a:srgbClr val="002060"/>
                </a:solidFill>
              </a:rPr>
              <a:t>ELTE Informatikai Kar</a:t>
            </a:r>
          </a:p>
          <a:p>
            <a:pPr lvl="1">
              <a:spcBef>
                <a:spcPts val="500"/>
              </a:spcBef>
            </a:pPr>
            <a:r>
              <a:rPr lang="hu-HU" sz="2000" dirty="0">
                <a:solidFill>
                  <a:srgbClr val="002060"/>
                </a:solidFill>
                <a:hlinkClick r:id="rId4"/>
              </a:rPr>
              <a:t>orosztamas@inf.elte.hu</a:t>
            </a:r>
            <a:endParaRPr lang="hu-HU" sz="2000" dirty="0">
              <a:solidFill>
                <a:srgbClr val="002060"/>
              </a:solidFill>
            </a:endParaRPr>
          </a:p>
          <a:p>
            <a:pPr lvl="1">
              <a:spcBef>
                <a:spcPts val="500"/>
              </a:spcBef>
            </a:pPr>
            <a:r>
              <a:rPr lang="hu-HU" sz="2000" dirty="0">
                <a:solidFill>
                  <a:srgbClr val="002060"/>
                </a:solidFill>
              </a:rPr>
              <a:t>2022.  május 26-27.</a:t>
            </a:r>
          </a:p>
          <a:p>
            <a:pPr lvl="1">
              <a:lnSpc>
                <a:spcPct val="150000"/>
              </a:lnSpc>
              <a:spcBef>
                <a:spcPts val="500"/>
              </a:spcBef>
            </a:pPr>
            <a:endParaRPr lang="hu-HU" sz="2400" cap="all" dirty="0">
              <a:solidFill>
                <a:prstClr val="black"/>
              </a:solidFill>
              <a:latin typeface="Garamond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46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E533FBBB-F629-422B-94EC-3FDE826C48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073" y="1551899"/>
            <a:ext cx="12169832" cy="4043913"/>
          </a:xfrm>
        </p:spPr>
        <p:txBody>
          <a:bodyPr/>
          <a:lstStyle/>
          <a:p>
            <a:pPr marL="0" indent="0">
              <a:buNone/>
            </a:pPr>
            <a:r>
              <a:rPr lang="hu-HU" sz="2400" b="1" dirty="0">
                <a:solidFill>
                  <a:srgbClr val="FF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Listák, tranzakciók, App-ok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Interaktivitás (reszponzív)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Paraméterezhetőség, szűrés, kiválasztás 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Ellenőrzés, jogosultságvizsgálat, szerepalapú funkciók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Áttekinthető listakép, automatikus adatszelekció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Dinamikus adatmegjelenítés, módosítás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AEFA2DDB-822F-4C25-AEB8-0C43B1E0D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7238" y="479771"/>
            <a:ext cx="10091651" cy="812625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hu-HU" sz="2400" b="1" dirty="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chnológiától független nézőpontok</a:t>
            </a:r>
            <a:r>
              <a:rPr lang="hu-HU" sz="24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br>
              <a:rPr lang="hu-HU" sz="24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24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 Üzleti igény vezérelt módszertan kiválasztása 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F21EA10-A134-4AEF-879E-D5068DED150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4058463-3E2D-46C4-B9F4-EA65C30F370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0</a:t>
            </a:fld>
            <a:endParaRPr lang="en-US"/>
          </a:p>
        </p:txBody>
      </p:sp>
      <p:sp>
        <p:nvSpPr>
          <p:cNvPr id="10" name="Élőláb helye 9">
            <a:extLst>
              <a:ext uri="{FF2B5EF4-FFF2-40B4-BE49-F238E27FC236}">
                <a16:creationId xmlns:a16="http://schemas.microsoft.com/office/drawing/2014/main" id="{7FFAAD6B-1004-0098-4979-18E3FFB516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177536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artalom helye 12">
            <a:extLst>
              <a:ext uri="{FF2B5EF4-FFF2-40B4-BE49-F238E27FC236}">
                <a16:creationId xmlns:a16="http://schemas.microsoft.com/office/drawing/2014/main" id="{8A67F829-6C9C-DC98-4D39-9B85989C3A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1109" y="1735993"/>
            <a:ext cx="12169832" cy="4043913"/>
          </a:xfrm>
        </p:spPr>
        <p:txBody>
          <a:bodyPr/>
          <a:lstStyle/>
          <a:p>
            <a:pPr marL="0" indent="0">
              <a:buNone/>
            </a:pPr>
            <a:r>
              <a:rPr lang="hu-HU" sz="2400" b="1" dirty="0">
                <a:solidFill>
                  <a:srgbClr val="FF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BPM, </a:t>
            </a:r>
            <a:r>
              <a:rPr lang="hu-HU" sz="2400" b="1" dirty="0" err="1">
                <a:solidFill>
                  <a:srgbClr val="FF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Workflow</a:t>
            </a:r>
            <a:endParaRPr lang="hu-HU" sz="2400" b="1" dirty="0">
              <a:solidFill>
                <a:srgbClr val="FF0000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Komplex üzleti objektumokhoz kapcsolódó szolgáltatások (BAPI) 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Standard </a:t>
            </a:r>
            <a:r>
              <a:rPr lang="hu-HU" b="1" dirty="0" err="1">
                <a:latin typeface="Calibri" panose="020F0502020204030204" pitchFamily="34" charset="0"/>
                <a:cs typeface="Calibri" panose="020F0502020204030204" pitchFamily="34" charset="0"/>
              </a:rPr>
              <a:t>Workflow</a:t>
            </a: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-sablonok implementációja 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Standard eszközök, protokollok (WSDL, REST)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OData szolgáltatások </a:t>
            </a:r>
          </a:p>
          <a:p>
            <a:pPr lvl="1">
              <a:lnSpc>
                <a:spcPct val="150000"/>
              </a:lnSpc>
            </a:pPr>
            <a:r>
              <a:rPr lang="hu-HU" b="1" dirty="0">
                <a:latin typeface="Calibri" panose="020F0502020204030204" pitchFamily="34" charset="0"/>
                <a:cs typeface="Calibri" panose="020F0502020204030204" pitchFamily="34" charset="0"/>
              </a:rPr>
              <a:t>Szervizek módosult szerepet töltenek be: dinamikus lista</a:t>
            </a:r>
          </a:p>
          <a:p>
            <a:pPr marL="0" indent="0">
              <a:buNone/>
            </a:pPr>
            <a:endParaRPr lang="hu-HU" dirty="0"/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8E0FC9F7-6FB7-42EE-B732-B4DB3FFFD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271" y="463329"/>
            <a:ext cx="10091651" cy="507600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hu-HU" sz="3200" b="1" dirty="0">
                <a:solidFill>
                  <a:srgbClr val="C0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Technológiától független nézőpontok: </a:t>
            </a:r>
            <a:br>
              <a:rPr lang="hu-HU" sz="3200" b="1" dirty="0">
                <a:solidFill>
                  <a:srgbClr val="C0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hu-HU" sz="3200" b="1" dirty="0">
                <a:solidFill>
                  <a:srgbClr val="C0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3. </a:t>
            </a:r>
            <a:r>
              <a:rPr lang="hu-HU" sz="3200" b="1" dirty="0">
                <a:solidFill>
                  <a:srgbClr val="00206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Szolgáltatás-orientált koncepció és architektúra</a:t>
            </a:r>
            <a:endParaRPr lang="hu-HU" b="1" dirty="0">
              <a:solidFill>
                <a:srgbClr val="FF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05DAB7F9-B93C-4F6E-92D3-9A1BB253296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A6A98457-7F7B-43BF-B670-493EA3D8FD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1</a:t>
            </a:fld>
            <a:endParaRPr lang="en-US"/>
          </a:p>
        </p:txBody>
      </p:sp>
      <p:sp>
        <p:nvSpPr>
          <p:cNvPr id="15" name="Élőláb helye 14">
            <a:extLst>
              <a:ext uri="{FF2B5EF4-FFF2-40B4-BE49-F238E27FC236}">
                <a16:creationId xmlns:a16="http://schemas.microsoft.com/office/drawing/2014/main" id="{4A53B411-2674-9A5C-14D4-8E3BDD2EDA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1679257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artalom helye 6">
            <a:extLst>
              <a:ext uri="{FF2B5EF4-FFF2-40B4-BE49-F238E27FC236}">
                <a16:creationId xmlns:a16="http://schemas.microsoft.com/office/drawing/2014/main" id="{FCF5B239-C212-4360-B38B-972C233DBB7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hu-HU" sz="2400" b="1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ővítési keretrendszer</a:t>
            </a:r>
            <a:endParaRPr lang="hu-HU" sz="2400" dirty="0"/>
          </a:p>
        </p:txBody>
      </p:sp>
      <p:sp>
        <p:nvSpPr>
          <p:cNvPr id="8" name="Tartalom helye 7">
            <a:extLst>
              <a:ext uri="{FF2B5EF4-FFF2-40B4-BE49-F238E27FC236}">
                <a16:creationId xmlns:a16="http://schemas.microsoft.com/office/drawing/2014/main" id="{03208572-8DD3-4435-9412-2D1700357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86834" y="153207"/>
            <a:ext cx="2221726" cy="3643350"/>
          </a:xfrm>
        </p:spPr>
        <p:txBody>
          <a:bodyPr/>
          <a:lstStyle/>
          <a:p>
            <a:r>
              <a:rPr lang="hu-HU" sz="2400" b="1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A és BPM 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8E0FC9F7-6FB7-42EE-B732-B4DB3FFFD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4049"/>
            <a:ext cx="8784000" cy="507600"/>
          </a:xfrm>
        </p:spPr>
        <p:txBody>
          <a:bodyPr>
            <a:normAutofit/>
          </a:bodyPr>
          <a:lstStyle/>
          <a:p>
            <a:r>
              <a:rPr lang="hu-HU" b="1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jlesztési eszközök alkalmazása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05DAB7F9-B93C-4F6E-92D3-9A1BB2532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A6A98457-7F7B-43BF-B670-493EA3D8F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2</a:t>
            </a:fld>
            <a:endParaRPr lang="en-US"/>
          </a:p>
        </p:txBody>
      </p:sp>
      <p:pic>
        <p:nvPicPr>
          <p:cNvPr id="9" name="Kép 8">
            <a:extLst>
              <a:ext uri="{FF2B5EF4-FFF2-40B4-BE49-F238E27FC236}">
                <a16:creationId xmlns:a16="http://schemas.microsoft.com/office/drawing/2014/main" id="{A01CA372-F8D2-4BC6-9C00-935894309C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8033" y="1907646"/>
            <a:ext cx="4926367" cy="3829579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2C802619-77EA-486D-8765-B13203D4B3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3174" y="551649"/>
            <a:ext cx="3229047" cy="4207824"/>
          </a:xfrm>
          <a:prstGeom prst="rect">
            <a:avLst/>
          </a:prstGeom>
        </p:spPr>
      </p:pic>
      <p:sp>
        <p:nvSpPr>
          <p:cNvPr id="2" name="Élőláb helye 1">
            <a:extLst>
              <a:ext uri="{FF2B5EF4-FFF2-40B4-BE49-F238E27FC236}">
                <a16:creationId xmlns:a16="http://schemas.microsoft.com/office/drawing/2014/main" id="{3647EB06-0E16-E834-2951-165B9903F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42665538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69E51170-89BF-4C3C-B891-B48569CF45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6499" y="1519200"/>
            <a:ext cx="5567901" cy="4155736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hu-HU" dirty="0"/>
              <a:t>Projektek támogatása:</a:t>
            </a:r>
          </a:p>
          <a:p>
            <a:pPr lvl="1">
              <a:lnSpc>
                <a:spcPct val="150000"/>
              </a:lnSpc>
            </a:pPr>
            <a:r>
              <a:rPr lang="hu-HU" dirty="0"/>
              <a:t>Bevezetés</a:t>
            </a:r>
          </a:p>
          <a:p>
            <a:pPr lvl="1">
              <a:lnSpc>
                <a:spcPct val="150000"/>
              </a:lnSpc>
            </a:pPr>
            <a:r>
              <a:rPr lang="hu-HU" dirty="0"/>
              <a:t>Upgrade</a:t>
            </a:r>
          </a:p>
          <a:p>
            <a:pPr lvl="1">
              <a:lnSpc>
                <a:spcPct val="150000"/>
              </a:lnSpc>
            </a:pPr>
            <a:r>
              <a:rPr lang="hu-HU" dirty="0"/>
              <a:t>Üzleti folyamatok </a:t>
            </a:r>
            <a:r>
              <a:rPr lang="hu-HU" dirty="0" err="1"/>
              <a:t>újratervezése</a:t>
            </a:r>
            <a:endParaRPr lang="hu-HU" dirty="0"/>
          </a:p>
          <a:p>
            <a:pPr>
              <a:lnSpc>
                <a:spcPct val="150000"/>
              </a:lnSpc>
            </a:pPr>
            <a:r>
              <a:rPr lang="hu-HU" dirty="0"/>
              <a:t>Microsoft Dynamics </a:t>
            </a:r>
            <a:r>
              <a:rPr lang="hu-HU" dirty="0" err="1"/>
              <a:t>Sure</a:t>
            </a:r>
            <a:r>
              <a:rPr lang="hu-HU" dirty="0"/>
              <a:t> </a:t>
            </a:r>
            <a:r>
              <a:rPr lang="hu-HU" dirty="0" err="1"/>
              <a:t>Step</a:t>
            </a:r>
            <a:endParaRPr lang="hu-HU" dirty="0"/>
          </a:p>
          <a:p>
            <a:pPr>
              <a:lnSpc>
                <a:spcPct val="150000"/>
              </a:lnSpc>
            </a:pPr>
            <a:r>
              <a:rPr lang="hu-HU" dirty="0"/>
              <a:t>Prince2</a:t>
            </a:r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620E5D46-EBDD-45C8-BC8E-E4B3A4BD4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755" y="485999"/>
            <a:ext cx="9706045" cy="579229"/>
          </a:xfrm>
        </p:spPr>
        <p:txBody>
          <a:bodyPr>
            <a:normAutofit fontScale="90000"/>
          </a:bodyPr>
          <a:lstStyle/>
          <a:p>
            <a:r>
              <a:rPr lang="hu-HU" sz="2800" b="1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zoftver életciklus, változáskezelés projekt szemléletben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33B0CD43-E083-4756-9B66-3641F0CF3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4CBCFD8-DC4D-42A9-87C2-4C479562E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3</a:t>
            </a:fld>
            <a:endParaRPr lang="en-US"/>
          </a:p>
        </p:txBody>
      </p:sp>
      <p:pic>
        <p:nvPicPr>
          <p:cNvPr id="7" name="Tartalom helye 6">
            <a:extLst>
              <a:ext uri="{FF2B5EF4-FFF2-40B4-BE49-F238E27FC236}">
                <a16:creationId xmlns:a16="http://schemas.microsoft.com/office/drawing/2014/main" id="{382353CD-E9FE-4053-89E6-DECB0865CEF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442010" y="1303180"/>
            <a:ext cx="4500563" cy="3211272"/>
          </a:xfrm>
          <a:prstGeom prst="rect">
            <a:avLst/>
          </a:prstGeom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CEE1AD98-4B3E-4DD0-9A88-065D39303206}"/>
              </a:ext>
            </a:extLst>
          </p:cNvPr>
          <p:cNvSpPr txBox="1"/>
          <p:nvPr/>
        </p:nvSpPr>
        <p:spPr>
          <a:xfrm>
            <a:off x="6505609" y="4514452"/>
            <a:ext cx="61745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baseline="0" dirty="0">
                <a:latin typeface="Fd5088-Identity-H"/>
              </a:rPr>
              <a:t>Microsoft Dynamics Sure Step </a:t>
            </a:r>
            <a:r>
              <a:rPr lang="hu-HU" sz="1800" b="0" i="0" u="none" strike="noStrike" baseline="0" dirty="0">
                <a:latin typeface="Fd5088-Identity-H"/>
              </a:rPr>
              <a:t>módszertan</a:t>
            </a:r>
            <a:endParaRPr lang="hu-HU" dirty="0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9F228465-92F3-7692-5D96-7EF3C83B9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390959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524000" y="2"/>
            <a:ext cx="158750" cy="158750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altLang="zh-HK" sz="1100" b="1" kern="0" dirty="0">
              <a:cs typeface="Arial"/>
              <a:sym typeface="Arial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848000" y="324000"/>
            <a:ext cx="7513488" cy="756000"/>
          </a:xfrm>
        </p:spPr>
        <p:txBody>
          <a:bodyPr>
            <a:norm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u-HU" sz="3200" b="1" dirty="0">
                <a:solidFill>
                  <a:srgbClr val="C00000"/>
                </a:solidFill>
              </a:rPr>
              <a:t>Digitális gazdaság kihívásai</a:t>
            </a:r>
            <a:endParaRPr lang="en-US" sz="2400" b="1" cap="small" dirty="0">
              <a:solidFill>
                <a:srgbClr val="C00000"/>
              </a:solidFill>
              <a:cs typeface="Calibri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449" y="1357642"/>
            <a:ext cx="10349437" cy="3699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21"/>
          <p:cNvSpPr>
            <a:spLocks noChangeArrowheads="1"/>
          </p:cNvSpPr>
          <p:nvPr/>
        </p:nvSpPr>
        <p:spPr bwMode="auto">
          <a:xfrm>
            <a:off x="8755333" y="6239916"/>
            <a:ext cx="1548950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r>
              <a:rPr lang="en-US" sz="1200" dirty="0">
                <a:latin typeface="Arial" pitchFamily="34" charset="0"/>
              </a:rPr>
              <a:t>Source: </a:t>
            </a:r>
            <a:r>
              <a:rPr lang="en-US" sz="1200" dirty="0">
                <a:ea typeface="ＭＳ Ｐゴシック" charset="0"/>
              </a:rPr>
              <a:t>SAP (</a:t>
            </a:r>
            <a:r>
              <a:rPr lang="en-US" sz="1200">
                <a:ea typeface="ＭＳ Ｐゴシック" charset="0"/>
              </a:rPr>
              <a:t>2015a) </a:t>
            </a:r>
            <a:endParaRPr lang="en-US" sz="1200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1413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91435CF8-261F-495E-95C8-AD2E0D5DB0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268" y="1548818"/>
            <a:ext cx="4500000" cy="260292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3200" b="1" dirty="0">
                <a:solidFill>
                  <a:srgbClr val="FFFF00"/>
                </a:solidFill>
              </a:rPr>
              <a:t>Adatforrások bővítése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3200" b="1" dirty="0">
                <a:solidFill>
                  <a:srgbClr val="FFFF00"/>
                </a:solidFill>
              </a:rPr>
              <a:t>Machine Learn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3200" b="1" dirty="0">
                <a:solidFill>
                  <a:srgbClr val="FFFF00"/>
                </a:solidFill>
              </a:rPr>
              <a:t>Big Data</a:t>
            </a: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2D5CFDAE-5903-41EB-B923-BD37DCC70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9158" y="105083"/>
            <a:ext cx="9313683" cy="1033201"/>
          </a:xfrm>
        </p:spPr>
        <p:txBody>
          <a:bodyPr>
            <a:normAutofit/>
          </a:bodyPr>
          <a:lstStyle/>
          <a:p>
            <a:pPr algn="ctr">
              <a:lnSpc>
                <a:spcPct val="150000"/>
              </a:lnSpc>
              <a:spcBef>
                <a:spcPts val="1000"/>
              </a:spcBef>
            </a:pPr>
            <a:r>
              <a:rPr lang="hu-HU" sz="3600" b="1" dirty="0">
                <a:solidFill>
                  <a:srgbClr val="C00000"/>
                </a:solidFill>
                <a:latin typeface="Garamond" pitchFamily="18" charset="0"/>
                <a:ea typeface="+mn-ea"/>
                <a:cs typeface="+mn-cs"/>
              </a:rPr>
              <a:t>Szoftveres innováció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73333D9-9263-402F-96BE-CE4119CB6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68" y="4562272"/>
            <a:ext cx="2941566" cy="208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41B33B24-CAAB-49A2-B116-7F01116F971E}"/>
              </a:ext>
            </a:extLst>
          </p:cNvPr>
          <p:cNvPicPr>
            <a:picLocks noGrp="1"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844375" y="1446201"/>
            <a:ext cx="7109540" cy="2971787"/>
          </a:xfrm>
          <a:prstGeom prst="rect">
            <a:avLst/>
          </a:prstGeom>
        </p:spPr>
      </p:pic>
      <p:sp>
        <p:nvSpPr>
          <p:cNvPr id="4" name="Dátum helye 3">
            <a:extLst>
              <a:ext uri="{FF2B5EF4-FFF2-40B4-BE49-F238E27FC236}">
                <a16:creationId xmlns:a16="http://schemas.microsoft.com/office/drawing/2014/main" id="{F94E2A3C-C061-0217-7D0B-6818CAC7AA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FFBDEA0C-0942-0CD8-F94A-57A1F0BD4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5</a:t>
            </a:fld>
            <a:endParaRPr lang="en-US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62DF6115-2EC2-75E9-730A-535DC644C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134922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>
            <a:extLst>
              <a:ext uri="{FF2B5EF4-FFF2-40B4-BE49-F238E27FC236}">
                <a16:creationId xmlns:a16="http://schemas.microsoft.com/office/drawing/2014/main" id="{29C47B57-4231-44EB-B8A3-8BB1BB28A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7352" y="161204"/>
            <a:ext cx="5493192" cy="1229679"/>
          </a:xfrm>
        </p:spPr>
        <p:txBody>
          <a:bodyPr>
            <a:normAutofit/>
          </a:bodyPr>
          <a:lstStyle/>
          <a:p>
            <a:pPr algn="ctr"/>
            <a:r>
              <a:rPr lang="hu-HU" sz="3200" b="1" dirty="0" err="1">
                <a:solidFill>
                  <a:srgbClr val="C00000"/>
                </a:solidFill>
              </a:rPr>
              <a:t>Architekturális</a:t>
            </a:r>
            <a:r>
              <a:rPr lang="hu-HU" sz="3200" b="1" dirty="0">
                <a:solidFill>
                  <a:srgbClr val="C00000"/>
                </a:solidFill>
              </a:rPr>
              <a:t>, felhasználói felület innováció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5416E05E-8EDD-4520-9E4E-D5692CB581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DBEE59F-3F1C-473D-BBC8-475C75D9C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6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5B4F7F6-2667-4A3F-BDF2-D60A659EBF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0406" y="1191863"/>
            <a:ext cx="4808743" cy="3479559"/>
          </a:xfrm>
          <a:prstGeom prst="rect">
            <a:avLst/>
          </a:prstGeom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810E8752-1BCA-49E2-977A-FC69C0A936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168" y="2171518"/>
            <a:ext cx="3962400" cy="2829842"/>
          </a:xfrm>
          <a:prstGeom prst="rect">
            <a:avLst/>
          </a:prstGeom>
        </p:spPr>
      </p:pic>
      <p:pic>
        <p:nvPicPr>
          <p:cNvPr id="9" name="Grafik 5">
            <a:extLst>
              <a:ext uri="{FF2B5EF4-FFF2-40B4-BE49-F238E27FC236}">
                <a16:creationId xmlns:a16="http://schemas.microsoft.com/office/drawing/2014/main" id="{729159F0-5879-45CD-96B0-FA3C6F4B2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644" y="485999"/>
            <a:ext cx="3737762" cy="3790283"/>
          </a:xfrm>
          <a:prstGeom prst="rect">
            <a:avLst/>
          </a:prstGeom>
        </p:spPr>
      </p:pic>
      <p:sp>
        <p:nvSpPr>
          <p:cNvPr id="2" name="Élőláb helye 1">
            <a:extLst>
              <a:ext uri="{FF2B5EF4-FFF2-40B4-BE49-F238E27FC236}">
                <a16:creationId xmlns:a16="http://schemas.microsoft.com/office/drawing/2014/main" id="{1FF5723F-E484-5AE1-A17E-0A86DC60A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329455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>
            <a:extLst>
              <a:ext uri="{FF2B5EF4-FFF2-40B4-BE49-F238E27FC236}">
                <a16:creationId xmlns:a16="http://schemas.microsoft.com/office/drawing/2014/main" id="{4C6B08CC-465F-4F09-8655-AE999DDFD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sz="3200" b="1" dirty="0">
                <a:solidFill>
                  <a:srgbClr val="C00000"/>
                </a:solidFill>
              </a:rPr>
              <a:t>Változások a projektmenedzsmentben</a:t>
            </a:r>
          </a:p>
        </p:txBody>
      </p:sp>
      <p:sp>
        <p:nvSpPr>
          <p:cNvPr id="7" name="Szöveg helye 6">
            <a:extLst>
              <a:ext uri="{FF2B5EF4-FFF2-40B4-BE49-F238E27FC236}">
                <a16:creationId xmlns:a16="http://schemas.microsoft.com/office/drawing/2014/main" id="{824C15AE-4748-4118-B23B-6D8B928D26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sz="2800" dirty="0"/>
              <a:t>WATERFALL</a:t>
            </a:r>
          </a:p>
          <a:p>
            <a:r>
              <a:rPr lang="hu-HU" sz="2800" dirty="0"/>
              <a:t>AGILE</a:t>
            </a:r>
          </a:p>
          <a:p>
            <a:r>
              <a:rPr lang="hu-HU" sz="2800" dirty="0"/>
              <a:t>SCRUM</a:t>
            </a:r>
          </a:p>
          <a:p>
            <a:r>
              <a:rPr lang="hu-HU" sz="2800" dirty="0"/>
              <a:t>KANBAN</a:t>
            </a:r>
          </a:p>
          <a:p>
            <a:r>
              <a:rPr lang="hu-HU" sz="2800" dirty="0"/>
              <a:t>SCRUMBAN</a:t>
            </a:r>
          </a:p>
          <a:p>
            <a:r>
              <a:rPr lang="hu-HU" sz="2800" dirty="0"/>
              <a:t>EXTREME PROGRAMMING</a:t>
            </a:r>
          </a:p>
          <a:p>
            <a:r>
              <a:rPr lang="hu-HU" sz="2800" dirty="0"/>
              <a:t>LEANCRITICAL CHAIN/PATH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C4C1899C-6BC9-41FE-BDC9-7F079F409AEE}"/>
              </a:ext>
            </a:extLst>
          </p:cNvPr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10E57FC4-483C-4C8E-AAFB-EF028097987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17</a:t>
            </a:fld>
            <a:endParaRPr lang="en-US"/>
          </a:p>
        </p:txBody>
      </p:sp>
      <p:sp>
        <p:nvSpPr>
          <p:cNvPr id="2" name="Élőláb helye 1">
            <a:extLst>
              <a:ext uri="{FF2B5EF4-FFF2-40B4-BE49-F238E27FC236}">
                <a16:creationId xmlns:a16="http://schemas.microsoft.com/office/drawing/2014/main" id="{6DB2205D-5A64-0088-4850-D356F118F63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r>
              <a:rPr lang="hu-HU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152451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7"/>
          <p:cNvSpPr>
            <a:spLocks noGrp="1"/>
          </p:cNvSpPr>
          <p:nvPr>
            <p:ph type="title"/>
          </p:nvPr>
        </p:nvSpPr>
        <p:spPr>
          <a:xfrm>
            <a:off x="120456" y="192532"/>
            <a:ext cx="10651422" cy="1127163"/>
          </a:xfrm>
        </p:spPr>
        <p:txBody>
          <a:bodyPr>
            <a:normAutofit/>
          </a:bodyPr>
          <a:lstStyle/>
          <a:p>
            <a:pPr algn="ctr"/>
            <a:r>
              <a:rPr lang="hu-HU" sz="3200" b="1" dirty="0">
                <a:solidFill>
                  <a:srgbClr val="C00000"/>
                </a:solidFill>
              </a:rPr>
              <a:t>Megatrendek: </a:t>
            </a:r>
            <a:r>
              <a:rPr lang="hu-HU" sz="3200" b="1" dirty="0" err="1">
                <a:solidFill>
                  <a:srgbClr val="C00000"/>
                </a:solidFill>
              </a:rPr>
              <a:t>Cyber-Physical</a:t>
            </a:r>
            <a:r>
              <a:rPr lang="hu-HU" sz="3200" b="1" dirty="0">
                <a:solidFill>
                  <a:srgbClr val="C00000"/>
                </a:solidFill>
              </a:rPr>
              <a:t> System + </a:t>
            </a:r>
            <a:r>
              <a:rPr lang="hu-HU" sz="3200" b="1" dirty="0" err="1">
                <a:solidFill>
                  <a:srgbClr val="C00000"/>
                </a:solidFill>
              </a:rPr>
              <a:t>Product</a:t>
            </a:r>
            <a:r>
              <a:rPr lang="hu-HU" sz="3200" b="1" dirty="0">
                <a:solidFill>
                  <a:srgbClr val="C00000"/>
                </a:solidFill>
              </a:rPr>
              <a:t> Service Systems</a:t>
            </a:r>
            <a:endParaRPr lang="en-US" altLang="zh-HK" sz="2800" b="1" cap="small" dirty="0">
              <a:solidFill>
                <a:srgbClr val="C00000"/>
              </a:solidFill>
            </a:endParaRPr>
          </a:p>
        </p:txBody>
      </p:sp>
      <p:sp>
        <p:nvSpPr>
          <p:cNvPr id="5" name="Textplatzhalter 2"/>
          <p:cNvSpPr txBox="1">
            <a:spLocks/>
          </p:cNvSpPr>
          <p:nvPr/>
        </p:nvSpPr>
        <p:spPr>
          <a:xfrm>
            <a:off x="1791227" y="1407679"/>
            <a:ext cx="3922003" cy="135568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64B3C"/>
              </a:buClr>
              <a:buSzPct val="80000"/>
              <a:buFont typeface="Courier New" panose="02070309020205020404" pitchFamily="49" charset="0"/>
              <a:buNone/>
              <a:defRPr lang="en-US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2317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64B3C"/>
              </a:buClr>
              <a:buSzPct val="100000"/>
              <a:buFont typeface="Courier New" panose="02070309020205020404" pitchFamily="49" charset="0"/>
              <a:buChar char="o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yber-Physical Systems:</a:t>
            </a:r>
            <a:endParaRPr lang="en-US" sz="800" dirty="0"/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6500038" y="1418771"/>
            <a:ext cx="4067317" cy="144881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64B3C"/>
              </a:buClr>
              <a:buSzPct val="80000"/>
              <a:buFont typeface="Courier New" panose="02070309020205020404" pitchFamily="49" charset="0"/>
              <a:buNone/>
              <a:defRPr lang="en-US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6075" indent="-2317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64B3C"/>
              </a:buClr>
              <a:buSzPct val="100000"/>
              <a:buFont typeface="Courier New" panose="02070309020205020404" pitchFamily="49" charset="0"/>
              <a:buChar char="o"/>
              <a:defRPr lang="en-US" sz="18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oduct Service Systems:</a:t>
            </a:r>
            <a:endParaRPr lang="en-US" sz="800" dirty="0"/>
          </a:p>
        </p:txBody>
      </p:sp>
      <p:sp>
        <p:nvSpPr>
          <p:cNvPr id="9" name="Pfeil nach rechts 8"/>
          <p:cNvSpPr/>
          <p:nvPr/>
        </p:nvSpPr>
        <p:spPr>
          <a:xfrm>
            <a:off x="5616269" y="3255264"/>
            <a:ext cx="720893" cy="4846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reeform 27"/>
          <p:cNvSpPr>
            <a:spLocks/>
          </p:cNvSpPr>
          <p:nvPr/>
        </p:nvSpPr>
        <p:spPr bwMode="auto">
          <a:xfrm>
            <a:off x="3994310" y="1838323"/>
            <a:ext cx="1037624" cy="476250"/>
          </a:xfrm>
          <a:custGeom>
            <a:avLst/>
            <a:gdLst>
              <a:gd name="T0" fmla="*/ 608 w 5971"/>
              <a:gd name="T1" fmla="*/ 774 h 2319"/>
              <a:gd name="T2" fmla="*/ 1379 w 5971"/>
              <a:gd name="T3" fmla="*/ 242 h 2319"/>
              <a:gd name="T4" fmla="*/ 1956 w 5971"/>
              <a:gd name="T5" fmla="*/ 303 h 2319"/>
              <a:gd name="T6" fmla="*/ 2918 w 5971"/>
              <a:gd name="T7" fmla="*/ 148 h 2319"/>
              <a:gd name="T8" fmla="*/ 3084 w 5971"/>
              <a:gd name="T9" fmla="*/ 212 h 2319"/>
              <a:gd name="T10" fmla="*/ 3865 w 5971"/>
              <a:gd name="T11" fmla="*/ 75 h 2319"/>
              <a:gd name="T12" fmla="*/ 4068 w 5971"/>
              <a:gd name="T13" fmla="*/ 163 h 2319"/>
              <a:gd name="T14" fmla="*/ 4981 w 5971"/>
              <a:gd name="T15" fmla="*/ 124 h 2319"/>
              <a:gd name="T16" fmla="*/ 5200 w 5971"/>
              <a:gd name="T17" fmla="*/ 322 h 2319"/>
              <a:gd name="T18" fmla="*/ 5700 w 5971"/>
              <a:gd name="T19" fmla="*/ 781 h 2319"/>
              <a:gd name="T20" fmla="*/ 5667 w 5971"/>
              <a:gd name="T21" fmla="*/ 830 h 2319"/>
              <a:gd name="T22" fmla="*/ 5501 w 5971"/>
              <a:gd name="T23" fmla="*/ 1494 h 2319"/>
              <a:gd name="T24" fmla="*/ 5078 w 5971"/>
              <a:gd name="T25" fmla="*/ 1588 h 2319"/>
              <a:gd name="T26" fmla="*/ 4300 w 5971"/>
              <a:gd name="T27" fmla="*/ 1989 h 2319"/>
              <a:gd name="T28" fmla="*/ 3898 w 5971"/>
              <a:gd name="T29" fmla="*/ 1927 h 2319"/>
              <a:gd name="T30" fmla="*/ 2774 w 5971"/>
              <a:gd name="T31" fmla="*/ 2243 h 2319"/>
              <a:gd name="T32" fmla="*/ 2286 w 5971"/>
              <a:gd name="T33" fmla="*/ 2053 h 2319"/>
              <a:gd name="T34" fmla="*/ 873 w 5971"/>
              <a:gd name="T35" fmla="*/ 1868 h 2319"/>
              <a:gd name="T36" fmla="*/ 862 w 5971"/>
              <a:gd name="T37" fmla="*/ 1858 h 2319"/>
              <a:gd name="T38" fmla="*/ 216 w 5971"/>
              <a:gd name="T39" fmla="*/ 1592 h 2319"/>
              <a:gd name="T40" fmla="*/ 369 w 5971"/>
              <a:gd name="T41" fmla="*/ 1348 h 2319"/>
              <a:gd name="T42" fmla="*/ 162 w 5971"/>
              <a:gd name="T43" fmla="*/ 930 h 2319"/>
              <a:gd name="T44" fmla="*/ 603 w 5971"/>
              <a:gd name="T45" fmla="*/ 781 h 2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971" h="2319">
                <a:moveTo>
                  <a:pt x="608" y="774"/>
                </a:moveTo>
                <a:cubicBezTo>
                  <a:pt x="541" y="515"/>
                  <a:pt x="886" y="277"/>
                  <a:pt x="1379" y="242"/>
                </a:cubicBezTo>
                <a:cubicBezTo>
                  <a:pt x="1579" y="228"/>
                  <a:pt x="1782" y="249"/>
                  <a:pt x="1956" y="303"/>
                </a:cubicBezTo>
                <a:cubicBezTo>
                  <a:pt x="2140" y="121"/>
                  <a:pt x="2571" y="51"/>
                  <a:pt x="2918" y="148"/>
                </a:cubicBezTo>
                <a:cubicBezTo>
                  <a:pt x="2979" y="165"/>
                  <a:pt x="3035" y="187"/>
                  <a:pt x="3084" y="212"/>
                </a:cubicBezTo>
                <a:cubicBezTo>
                  <a:pt x="3227" y="61"/>
                  <a:pt x="3577" y="0"/>
                  <a:pt x="3865" y="75"/>
                </a:cubicBezTo>
                <a:cubicBezTo>
                  <a:pt x="3944" y="96"/>
                  <a:pt x="4014" y="126"/>
                  <a:pt x="4068" y="163"/>
                </a:cubicBezTo>
                <a:cubicBezTo>
                  <a:pt x="4299" y="20"/>
                  <a:pt x="4708" y="3"/>
                  <a:pt x="4981" y="124"/>
                </a:cubicBezTo>
                <a:cubicBezTo>
                  <a:pt x="5096" y="174"/>
                  <a:pt x="5173" y="245"/>
                  <a:pt x="5200" y="322"/>
                </a:cubicBezTo>
                <a:cubicBezTo>
                  <a:pt x="5579" y="376"/>
                  <a:pt x="5803" y="582"/>
                  <a:pt x="5700" y="781"/>
                </a:cubicBezTo>
                <a:cubicBezTo>
                  <a:pt x="5691" y="798"/>
                  <a:pt x="5680" y="814"/>
                  <a:pt x="5667" y="830"/>
                </a:cubicBezTo>
                <a:cubicBezTo>
                  <a:pt x="5971" y="1037"/>
                  <a:pt x="5897" y="1335"/>
                  <a:pt x="5501" y="1494"/>
                </a:cubicBezTo>
                <a:cubicBezTo>
                  <a:pt x="5378" y="1544"/>
                  <a:pt x="5232" y="1576"/>
                  <a:pt x="5078" y="1588"/>
                </a:cubicBezTo>
                <a:cubicBezTo>
                  <a:pt x="5075" y="1811"/>
                  <a:pt x="4726" y="1990"/>
                  <a:pt x="4300" y="1989"/>
                </a:cubicBezTo>
                <a:cubicBezTo>
                  <a:pt x="4158" y="1988"/>
                  <a:pt x="4018" y="1967"/>
                  <a:pt x="3898" y="1927"/>
                </a:cubicBezTo>
                <a:cubicBezTo>
                  <a:pt x="3753" y="2178"/>
                  <a:pt x="3250" y="2319"/>
                  <a:pt x="2774" y="2243"/>
                </a:cubicBezTo>
                <a:cubicBezTo>
                  <a:pt x="2575" y="2212"/>
                  <a:pt x="2402" y="2144"/>
                  <a:pt x="2286" y="2053"/>
                </a:cubicBezTo>
                <a:cubicBezTo>
                  <a:pt x="1799" y="2207"/>
                  <a:pt x="1166" y="2124"/>
                  <a:pt x="873" y="1868"/>
                </a:cubicBezTo>
                <a:cubicBezTo>
                  <a:pt x="869" y="1865"/>
                  <a:pt x="866" y="1862"/>
                  <a:pt x="862" y="1858"/>
                </a:cubicBezTo>
                <a:cubicBezTo>
                  <a:pt x="543" y="1878"/>
                  <a:pt x="254" y="1758"/>
                  <a:pt x="216" y="1592"/>
                </a:cubicBezTo>
                <a:cubicBezTo>
                  <a:pt x="196" y="1503"/>
                  <a:pt x="252" y="1414"/>
                  <a:pt x="369" y="1348"/>
                </a:cubicBezTo>
                <a:cubicBezTo>
                  <a:pt x="93" y="1263"/>
                  <a:pt x="0" y="1076"/>
                  <a:pt x="162" y="930"/>
                </a:cubicBezTo>
                <a:cubicBezTo>
                  <a:pt x="256" y="846"/>
                  <a:pt x="419" y="791"/>
                  <a:pt x="603" y="781"/>
                </a:cubicBezTo>
              </a:path>
            </a:pathLst>
          </a:custGeom>
          <a:solidFill>
            <a:srgbClr val="F7CAB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altLang="de-D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ystems</a:t>
            </a:r>
            <a:endParaRPr lang="en-US" sz="1400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1859864" y="2771776"/>
            <a:ext cx="3665288" cy="2161126"/>
            <a:chOff x="267225" y="4157132"/>
            <a:chExt cx="4329113" cy="1928812"/>
          </a:xfrm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267225" y="4206344"/>
              <a:ext cx="4329113" cy="1879600"/>
            </a:xfrm>
            <a:prstGeom prst="rect">
              <a:avLst/>
            </a:prstGeom>
            <a:solidFill>
              <a:srgbClr val="E7E6E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18000" numCol="1" anchor="b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altLang="de-D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hysical/mechanical system CPS</a:t>
              </a:r>
              <a:endParaRPr lang="en-US" altLang="de-DE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8"/>
            <p:cNvSpPr>
              <a:spLocks noChangeArrowheads="1"/>
            </p:cNvSpPr>
            <p:nvPr/>
          </p:nvSpPr>
          <p:spPr bwMode="auto">
            <a:xfrm>
              <a:off x="599013" y="4285719"/>
              <a:ext cx="3768725" cy="1560513"/>
            </a:xfrm>
            <a:prstGeom prst="rect">
              <a:avLst/>
            </a:prstGeom>
            <a:solidFill>
              <a:srgbClr val="954F7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18000" numCol="1" anchor="b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altLang="de-DE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mbedded system</a:t>
              </a: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703788" y="4655607"/>
              <a:ext cx="3554413" cy="925513"/>
            </a:xfrm>
            <a:prstGeom prst="rect">
              <a:avLst/>
            </a:prstGeom>
            <a:solidFill>
              <a:srgbClr val="2A7AD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18000" numCol="1" anchor="b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en-US" altLang="de-DE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nsors and actuators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867300" y="4655607"/>
              <a:ext cx="3217863" cy="718454"/>
            </a:xfrm>
            <a:prstGeom prst="rect">
              <a:avLst/>
            </a:prstGeom>
            <a:solidFill>
              <a:srgbClr val="C5AE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1800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de-D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lectronic </a:t>
              </a:r>
              <a:r>
                <a:rPr lang="en-US" altLang="de-DE" sz="1400" dirty="0">
                  <a:solidFill>
                    <a:srgbClr val="000000"/>
                  </a:solidFill>
                </a:rPr>
                <a:t>hardware</a:t>
              </a:r>
              <a:endParaRPr lang="en-US" sz="1400" dirty="0"/>
            </a:p>
          </p:txBody>
        </p:sp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962550" y="4774669"/>
              <a:ext cx="3036888" cy="360363"/>
            </a:xfrm>
            <a:prstGeom prst="rect">
              <a:avLst/>
            </a:prstGeom>
            <a:solidFill>
              <a:srgbClr val="ADEA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1800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de-D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oftware</a:t>
              </a:r>
              <a:endParaRPr lang="en-US" sz="1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2518300" y="4157132"/>
              <a:ext cx="1751013" cy="457200"/>
            </a:xfrm>
            <a:prstGeom prst="rect">
              <a:avLst/>
            </a:prstGeom>
            <a:solidFill>
              <a:srgbClr val="E97C08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de-D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onnection to </a:t>
              </a:r>
              <a:r>
                <a:rPr lang="en-US" altLang="de-DE" sz="1400" dirty="0">
                  <a:solidFill>
                    <a:srgbClr val="000000"/>
                  </a:solidFill>
                </a:rPr>
                <a:t>other systems</a:t>
              </a:r>
              <a:endParaRPr lang="en-US" sz="1400" dirty="0"/>
            </a:p>
          </p:txBody>
        </p:sp>
        <p:sp>
          <p:nvSpPr>
            <p:cNvPr id="18" name="Rectangle 37"/>
            <p:cNvSpPr>
              <a:spLocks noChangeArrowheads="1"/>
            </p:cNvSpPr>
            <p:nvPr/>
          </p:nvSpPr>
          <p:spPr bwMode="auto">
            <a:xfrm>
              <a:off x="691088" y="4157132"/>
              <a:ext cx="1789113" cy="457200"/>
            </a:xfrm>
            <a:prstGeom prst="rect">
              <a:avLst/>
            </a:prstGeom>
            <a:solidFill>
              <a:srgbClr val="F1FC6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altLang="de-D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uman machine </a:t>
              </a:r>
              <a:r>
                <a:rPr lang="en-US" altLang="de-DE" sz="1400" dirty="0">
                  <a:solidFill>
                    <a:srgbClr val="000000"/>
                  </a:solidFill>
                </a:rPr>
                <a:t>interface</a:t>
              </a:r>
              <a:endParaRPr lang="en-US" sz="1400" dirty="0"/>
            </a:p>
          </p:txBody>
        </p:sp>
      </p:grpSp>
      <p:sp>
        <p:nvSpPr>
          <p:cNvPr id="19" name="Oval 43"/>
          <p:cNvSpPr>
            <a:spLocks noChangeArrowheads="1"/>
          </p:cNvSpPr>
          <p:nvPr/>
        </p:nvSpPr>
        <p:spPr bwMode="auto">
          <a:xfrm>
            <a:off x="2981350" y="1816098"/>
            <a:ext cx="81989" cy="96838"/>
          </a:xfrm>
          <a:prstGeom prst="ellipse">
            <a:avLst/>
          </a:prstGeom>
          <a:noFill/>
          <a:ln w="11113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20" name="Line 44"/>
          <p:cNvSpPr>
            <a:spLocks noChangeShapeType="1"/>
          </p:cNvSpPr>
          <p:nvPr/>
        </p:nvSpPr>
        <p:spPr bwMode="auto">
          <a:xfrm>
            <a:off x="2955172" y="3081920"/>
            <a:ext cx="0" cy="179388"/>
          </a:xfrm>
          <a:prstGeom prst="line">
            <a:avLst/>
          </a:prstGeom>
          <a:noFill/>
          <a:ln w="11113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21" name="Line 45"/>
          <p:cNvSpPr>
            <a:spLocks noChangeShapeType="1"/>
          </p:cNvSpPr>
          <p:nvPr/>
        </p:nvSpPr>
        <p:spPr bwMode="auto">
          <a:xfrm>
            <a:off x="2842065" y="3147007"/>
            <a:ext cx="219084" cy="0"/>
          </a:xfrm>
          <a:prstGeom prst="line">
            <a:avLst/>
          </a:prstGeom>
          <a:noFill/>
          <a:ln w="11113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22" name="Line 46"/>
          <p:cNvSpPr>
            <a:spLocks noChangeShapeType="1"/>
          </p:cNvSpPr>
          <p:nvPr/>
        </p:nvSpPr>
        <p:spPr bwMode="auto">
          <a:xfrm flipH="1">
            <a:off x="2882945" y="3251780"/>
            <a:ext cx="71236" cy="150813"/>
          </a:xfrm>
          <a:prstGeom prst="line">
            <a:avLst/>
          </a:prstGeom>
          <a:noFill/>
          <a:ln w="11113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cxnSp>
        <p:nvCxnSpPr>
          <p:cNvPr id="24" name="Gerade Verbindung mit Pfeil 23"/>
          <p:cNvCxnSpPr/>
          <p:nvPr/>
        </p:nvCxnSpPr>
        <p:spPr>
          <a:xfrm>
            <a:off x="2979361" y="2328335"/>
            <a:ext cx="0" cy="45243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 flipV="1">
            <a:off x="3047092" y="2328336"/>
            <a:ext cx="0" cy="45243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4501278" y="2328335"/>
            <a:ext cx="0" cy="45243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>
          <a:xfrm flipV="1">
            <a:off x="4569009" y="2328336"/>
            <a:ext cx="0" cy="452437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Kreuz 59"/>
          <p:cNvSpPr/>
          <p:nvPr/>
        </p:nvSpPr>
        <p:spPr bwMode="gray">
          <a:xfrm>
            <a:off x="5603733" y="1701210"/>
            <a:ext cx="606055" cy="543523"/>
          </a:xfrm>
          <a:prstGeom prst="plus">
            <a:avLst>
              <a:gd name="adj" fmla="val 40650"/>
            </a:avLst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de-DE" kern="0" dirty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61" name="Grafik 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3911" y="2242836"/>
            <a:ext cx="4133444" cy="2709316"/>
          </a:xfrm>
          <a:prstGeom prst="rect">
            <a:avLst/>
          </a:prstGeom>
        </p:spPr>
      </p:pic>
      <p:sp>
        <p:nvSpPr>
          <p:cNvPr id="28" name="Line 46"/>
          <p:cNvSpPr>
            <a:spLocks noChangeShapeType="1"/>
          </p:cNvSpPr>
          <p:nvPr/>
        </p:nvSpPr>
        <p:spPr bwMode="auto">
          <a:xfrm rot="7800000" flipH="1">
            <a:off x="3023997" y="2084264"/>
            <a:ext cx="71236" cy="150813"/>
          </a:xfrm>
          <a:prstGeom prst="line">
            <a:avLst/>
          </a:prstGeom>
          <a:noFill/>
          <a:ln w="11113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29" name="Textfeld 175"/>
          <p:cNvSpPr txBox="1">
            <a:spLocks noChangeArrowheads="1"/>
          </p:cNvSpPr>
          <p:nvPr/>
        </p:nvSpPr>
        <p:spPr bwMode="auto">
          <a:xfrm>
            <a:off x="7352544" y="6121136"/>
            <a:ext cx="299145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tabLst>
                <a:tab pos="720725" algn="l"/>
              </a:tabLst>
            </a:pPr>
            <a:r>
              <a:rPr lang="en-US" sz="900" dirty="0"/>
              <a:t>Source:</a:t>
            </a:r>
            <a:r>
              <a:rPr lang="en-GB" sz="900" dirty="0"/>
              <a:t> own illustration</a:t>
            </a:r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9FECB32A-5834-41A2-98ED-085AA0BD7854}"/>
              </a:ext>
            </a:extLst>
          </p:cNvPr>
          <p:cNvSpPr txBox="1"/>
          <p:nvPr/>
        </p:nvSpPr>
        <p:spPr>
          <a:xfrm>
            <a:off x="409516" y="5274750"/>
            <a:ext cx="39168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3200" dirty="0" err="1">
                <a:solidFill>
                  <a:srgbClr val="FFFF00"/>
                </a:solidFill>
              </a:rPr>
              <a:t>IoT</a:t>
            </a:r>
            <a:endParaRPr lang="hu-HU" sz="3200" dirty="0">
              <a:solidFill>
                <a:srgbClr val="FFFF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3200" dirty="0" err="1">
                <a:solidFill>
                  <a:srgbClr val="FFFF00"/>
                </a:solidFill>
              </a:rPr>
              <a:t>Industry</a:t>
            </a:r>
            <a:r>
              <a:rPr lang="hu-HU" sz="3200" dirty="0">
                <a:solidFill>
                  <a:srgbClr val="FFFF00"/>
                </a:solidFill>
              </a:rPr>
              <a:t> 4.0</a:t>
            </a:r>
          </a:p>
        </p:txBody>
      </p:sp>
    </p:spTree>
    <p:extLst>
      <p:ext uri="{BB962C8B-B14F-4D97-AF65-F5344CB8AC3E}">
        <p14:creationId xmlns:p14="http://schemas.microsoft.com/office/powerpoint/2010/main" val="1900551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2800" b="1" dirty="0" err="1">
                <a:solidFill>
                  <a:srgbClr val="C00000"/>
                </a:solidFill>
              </a:rPr>
              <a:t>Üzleti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változásmenedzsment</a:t>
            </a:r>
            <a:r>
              <a:rPr lang="hu-HU" sz="2800" b="1" dirty="0">
                <a:solidFill>
                  <a:srgbClr val="C00000"/>
                </a:solidFill>
              </a:rPr>
              <a:t>et </a:t>
            </a:r>
            <a:r>
              <a:rPr lang="en-US" sz="2800" b="1" dirty="0" err="1">
                <a:solidFill>
                  <a:srgbClr val="C00000"/>
                </a:solidFill>
              </a:rPr>
              <a:t>kiváltó</a:t>
            </a:r>
            <a:r>
              <a:rPr lang="en-US" sz="2800" b="1" dirty="0">
                <a:solidFill>
                  <a:srgbClr val="C00000"/>
                </a:solidFill>
              </a:rPr>
              <a:t> ok</a:t>
            </a:r>
            <a:r>
              <a:rPr lang="hu-HU" sz="2800" b="1" dirty="0">
                <a:solidFill>
                  <a:srgbClr val="C00000"/>
                </a:solidFill>
              </a:rPr>
              <a:t>ok</a:t>
            </a:r>
            <a:endParaRPr lang="en-US" sz="2400" b="1" kern="0" dirty="0">
              <a:solidFill>
                <a:srgbClr val="C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" name="Ellipse 16">
            <a:extLst>
              <a:ext uri="{FF2B5EF4-FFF2-40B4-BE49-F238E27FC236}">
                <a16:creationId xmlns:a16="http://schemas.microsoft.com/office/drawing/2014/main" id="{B900732D-9B3B-434E-8B3B-498ADEF9823B}"/>
              </a:ext>
            </a:extLst>
          </p:cNvPr>
          <p:cNvSpPr/>
          <p:nvPr/>
        </p:nvSpPr>
        <p:spPr bwMode="auto">
          <a:xfrm>
            <a:off x="5127595" y="2555323"/>
            <a:ext cx="2196269" cy="1145137"/>
          </a:xfrm>
          <a:prstGeom prst="ellipse">
            <a:avLst/>
          </a:prstGeom>
          <a:solidFill>
            <a:srgbClr val="7F7F7F"/>
          </a:solidFill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solidFill>
                  <a:schemeClr val="bg1"/>
                </a:solidFill>
                <a:latin typeface="Arial" pitchFamily="34" charset="0"/>
              </a:rPr>
              <a:t>Company</a:t>
            </a:r>
            <a:endParaRPr lang="en-GB" sz="2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40" name="Rechteck 17">
            <a:extLst>
              <a:ext uri="{FF2B5EF4-FFF2-40B4-BE49-F238E27FC236}">
                <a16:creationId xmlns:a16="http://schemas.microsoft.com/office/drawing/2014/main" id="{0FCDF94E-81C7-44FD-965E-822EA615727F}"/>
              </a:ext>
            </a:extLst>
          </p:cNvPr>
          <p:cNvSpPr/>
          <p:nvPr/>
        </p:nvSpPr>
        <p:spPr bwMode="auto">
          <a:xfrm>
            <a:off x="3375706" y="1417665"/>
            <a:ext cx="1999716" cy="709301"/>
          </a:xfrm>
          <a:prstGeom prst="rect">
            <a:avLst/>
          </a:prstGeom>
          <a:solidFill>
            <a:srgbClr val="F0AB00"/>
          </a:solidFill>
          <a:ln w="9525" cap="flat" cmpd="sng" algn="ctr">
            <a:solidFill>
              <a:srgbClr val="F0A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 err="1">
                <a:latin typeface="Arial" pitchFamily="34" charset="0"/>
              </a:rPr>
              <a:t>Social</a:t>
            </a:r>
            <a:r>
              <a:rPr lang="de-DE" sz="2000" dirty="0">
                <a:latin typeface="Arial" pitchFamily="34" charset="0"/>
              </a:rPr>
              <a:t> Environment</a:t>
            </a:r>
            <a:endParaRPr lang="en-GB" sz="2000" dirty="0">
              <a:latin typeface="Arial" pitchFamily="34" charset="0"/>
            </a:endParaRPr>
          </a:p>
        </p:txBody>
      </p:sp>
      <p:sp>
        <p:nvSpPr>
          <p:cNvPr id="41" name="Rechteck 18">
            <a:extLst>
              <a:ext uri="{FF2B5EF4-FFF2-40B4-BE49-F238E27FC236}">
                <a16:creationId xmlns:a16="http://schemas.microsoft.com/office/drawing/2014/main" id="{7D11C4A7-4950-46C3-B23C-91CB1D419C89}"/>
              </a:ext>
            </a:extLst>
          </p:cNvPr>
          <p:cNvSpPr/>
          <p:nvPr/>
        </p:nvSpPr>
        <p:spPr bwMode="auto">
          <a:xfrm>
            <a:off x="2442790" y="2767900"/>
            <a:ext cx="1999716" cy="709301"/>
          </a:xfrm>
          <a:prstGeom prst="rect">
            <a:avLst/>
          </a:prstGeom>
          <a:solidFill>
            <a:srgbClr val="F0AB00"/>
          </a:solidFill>
          <a:ln w="9525" cap="flat" cmpd="sng" algn="ctr">
            <a:solidFill>
              <a:srgbClr val="F0A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 err="1">
                <a:latin typeface="Arial" pitchFamily="34" charset="0"/>
              </a:rPr>
              <a:t>Ecological</a:t>
            </a:r>
            <a:r>
              <a:rPr lang="de-DE" sz="2000" dirty="0">
                <a:latin typeface="Arial" pitchFamily="34" charset="0"/>
              </a:rPr>
              <a:t> Environment</a:t>
            </a:r>
            <a:endParaRPr lang="en-GB" sz="2000" dirty="0">
              <a:latin typeface="Arial" pitchFamily="34" charset="0"/>
            </a:endParaRPr>
          </a:p>
        </p:txBody>
      </p:sp>
      <p:sp>
        <p:nvSpPr>
          <p:cNvPr id="42" name="Rechteck 19">
            <a:extLst>
              <a:ext uri="{FF2B5EF4-FFF2-40B4-BE49-F238E27FC236}">
                <a16:creationId xmlns:a16="http://schemas.microsoft.com/office/drawing/2014/main" id="{4017948E-DDC9-421A-8D77-A346D98B9F96}"/>
              </a:ext>
            </a:extLst>
          </p:cNvPr>
          <p:cNvSpPr/>
          <p:nvPr/>
        </p:nvSpPr>
        <p:spPr bwMode="auto">
          <a:xfrm>
            <a:off x="3271732" y="4199320"/>
            <a:ext cx="1999716" cy="709301"/>
          </a:xfrm>
          <a:prstGeom prst="rect">
            <a:avLst/>
          </a:prstGeom>
          <a:solidFill>
            <a:srgbClr val="F0AB00"/>
          </a:solidFill>
          <a:ln w="9525" cap="flat" cmpd="sng" algn="ctr">
            <a:solidFill>
              <a:srgbClr val="F0A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 err="1">
                <a:latin typeface="Arial" pitchFamily="34" charset="0"/>
              </a:rPr>
              <a:t>Economical</a:t>
            </a:r>
            <a:r>
              <a:rPr lang="de-DE" sz="2000" dirty="0">
                <a:latin typeface="Arial" pitchFamily="34" charset="0"/>
              </a:rPr>
              <a:t> Environment</a:t>
            </a:r>
            <a:endParaRPr lang="en-GB" sz="2000" dirty="0">
              <a:latin typeface="Arial" pitchFamily="34" charset="0"/>
            </a:endParaRPr>
          </a:p>
        </p:txBody>
      </p:sp>
      <p:sp>
        <p:nvSpPr>
          <p:cNvPr id="43" name="Rechteck 20">
            <a:extLst>
              <a:ext uri="{FF2B5EF4-FFF2-40B4-BE49-F238E27FC236}">
                <a16:creationId xmlns:a16="http://schemas.microsoft.com/office/drawing/2014/main" id="{5E31430F-440E-4B8E-9F02-CBB52EE5237F}"/>
              </a:ext>
            </a:extLst>
          </p:cNvPr>
          <p:cNvSpPr/>
          <p:nvPr/>
        </p:nvSpPr>
        <p:spPr bwMode="auto">
          <a:xfrm>
            <a:off x="6792600" y="1417664"/>
            <a:ext cx="1999716" cy="709301"/>
          </a:xfrm>
          <a:prstGeom prst="rect">
            <a:avLst/>
          </a:prstGeom>
          <a:solidFill>
            <a:srgbClr val="F0AB00"/>
          </a:solidFill>
          <a:ln w="9525" cap="flat" cmpd="sng" algn="ctr">
            <a:solidFill>
              <a:srgbClr val="F0A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latin typeface="Arial" pitchFamily="34" charset="0"/>
              </a:rPr>
              <a:t>Political Environment</a:t>
            </a:r>
            <a:endParaRPr lang="en-GB" sz="2000" dirty="0">
              <a:latin typeface="Arial" pitchFamily="34" charset="0"/>
            </a:endParaRPr>
          </a:p>
        </p:txBody>
      </p:sp>
      <p:sp>
        <p:nvSpPr>
          <p:cNvPr id="44" name="Rechteck 21">
            <a:extLst>
              <a:ext uri="{FF2B5EF4-FFF2-40B4-BE49-F238E27FC236}">
                <a16:creationId xmlns:a16="http://schemas.microsoft.com/office/drawing/2014/main" id="{8CDF6038-7ABA-4C97-9ACD-29F2A4D05FC9}"/>
              </a:ext>
            </a:extLst>
          </p:cNvPr>
          <p:cNvSpPr/>
          <p:nvPr/>
        </p:nvSpPr>
        <p:spPr bwMode="auto">
          <a:xfrm>
            <a:off x="8008951" y="2767900"/>
            <a:ext cx="1999716" cy="709301"/>
          </a:xfrm>
          <a:prstGeom prst="rect">
            <a:avLst/>
          </a:prstGeom>
          <a:solidFill>
            <a:srgbClr val="F0AB00"/>
          </a:solidFill>
          <a:ln w="9525" cap="flat" cmpd="sng" algn="ctr">
            <a:solidFill>
              <a:srgbClr val="F0A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 err="1">
                <a:latin typeface="Arial" pitchFamily="34" charset="0"/>
              </a:rPr>
              <a:t>Institutional</a:t>
            </a:r>
            <a:r>
              <a:rPr lang="de-DE" sz="2000" dirty="0">
                <a:latin typeface="Arial" pitchFamily="34" charset="0"/>
              </a:rPr>
              <a:t> Environment</a:t>
            </a:r>
            <a:endParaRPr lang="en-GB" sz="2000" dirty="0">
              <a:latin typeface="Arial" pitchFamily="34" charset="0"/>
            </a:endParaRPr>
          </a:p>
        </p:txBody>
      </p:sp>
      <p:sp>
        <p:nvSpPr>
          <p:cNvPr id="45" name="Rechteck 22">
            <a:extLst>
              <a:ext uri="{FF2B5EF4-FFF2-40B4-BE49-F238E27FC236}">
                <a16:creationId xmlns:a16="http://schemas.microsoft.com/office/drawing/2014/main" id="{FBB8C787-E31C-45C1-A695-4C189A63A2F1}"/>
              </a:ext>
            </a:extLst>
          </p:cNvPr>
          <p:cNvSpPr/>
          <p:nvPr/>
        </p:nvSpPr>
        <p:spPr bwMode="auto">
          <a:xfrm>
            <a:off x="6886603" y="4128818"/>
            <a:ext cx="1999716" cy="709301"/>
          </a:xfrm>
          <a:prstGeom prst="rect">
            <a:avLst/>
          </a:prstGeom>
          <a:solidFill>
            <a:srgbClr val="F0AB00"/>
          </a:solidFill>
          <a:ln w="9525" cap="flat" cmpd="sng" algn="ctr">
            <a:solidFill>
              <a:srgbClr val="F0A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latin typeface="Arial" pitchFamily="34" charset="0"/>
              </a:rPr>
              <a:t>Technological Environment</a:t>
            </a:r>
            <a:endParaRPr lang="en-GB" sz="2000" dirty="0">
              <a:latin typeface="Arial" pitchFamily="34" charset="0"/>
            </a:endParaRPr>
          </a:p>
        </p:txBody>
      </p:sp>
      <p:cxnSp>
        <p:nvCxnSpPr>
          <p:cNvPr id="46" name="Gerader Verbinder 24">
            <a:extLst>
              <a:ext uri="{FF2B5EF4-FFF2-40B4-BE49-F238E27FC236}">
                <a16:creationId xmlns:a16="http://schemas.microsoft.com/office/drawing/2014/main" id="{8FFA16A5-37A9-4D9B-BD0B-573FB1217125}"/>
              </a:ext>
            </a:extLst>
          </p:cNvPr>
          <p:cNvCxnSpPr>
            <a:cxnSpLocks/>
            <a:stCxn id="40" idx="2"/>
            <a:endCxn id="39" idx="1"/>
          </p:cNvCxnSpPr>
          <p:nvPr/>
        </p:nvCxnSpPr>
        <p:spPr bwMode="auto">
          <a:xfrm>
            <a:off x="4375564" y="2126965"/>
            <a:ext cx="1073666" cy="5960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Gerader Verbinder 25">
            <a:extLst>
              <a:ext uri="{FF2B5EF4-FFF2-40B4-BE49-F238E27FC236}">
                <a16:creationId xmlns:a16="http://schemas.microsoft.com/office/drawing/2014/main" id="{828A2319-B1A1-4D74-A42E-36EBED2ED3FC}"/>
              </a:ext>
            </a:extLst>
          </p:cNvPr>
          <p:cNvCxnSpPr>
            <a:cxnSpLocks/>
            <a:stCxn id="41" idx="3"/>
            <a:endCxn id="39" idx="2"/>
          </p:cNvCxnSpPr>
          <p:nvPr/>
        </p:nvCxnSpPr>
        <p:spPr bwMode="auto">
          <a:xfrm>
            <a:off x="4442506" y="3122551"/>
            <a:ext cx="685088" cy="53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Gerader Verbinder 26">
            <a:extLst>
              <a:ext uri="{FF2B5EF4-FFF2-40B4-BE49-F238E27FC236}">
                <a16:creationId xmlns:a16="http://schemas.microsoft.com/office/drawing/2014/main" id="{D28306B9-C030-4459-A04E-0D69C1B2F492}"/>
              </a:ext>
            </a:extLst>
          </p:cNvPr>
          <p:cNvCxnSpPr>
            <a:cxnSpLocks/>
            <a:stCxn id="42" idx="0"/>
            <a:endCxn id="39" idx="3"/>
          </p:cNvCxnSpPr>
          <p:nvPr/>
        </p:nvCxnSpPr>
        <p:spPr bwMode="auto">
          <a:xfrm flipV="1">
            <a:off x="4271590" y="3532759"/>
            <a:ext cx="1177640" cy="66656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Gerader Verbinder 27">
            <a:extLst>
              <a:ext uri="{FF2B5EF4-FFF2-40B4-BE49-F238E27FC236}">
                <a16:creationId xmlns:a16="http://schemas.microsoft.com/office/drawing/2014/main" id="{38DBC5E6-4DA9-4672-A093-E5A262249B4E}"/>
              </a:ext>
            </a:extLst>
          </p:cNvPr>
          <p:cNvCxnSpPr>
            <a:cxnSpLocks/>
            <a:stCxn id="43" idx="2"/>
            <a:endCxn id="39" idx="7"/>
          </p:cNvCxnSpPr>
          <p:nvPr/>
        </p:nvCxnSpPr>
        <p:spPr bwMode="auto">
          <a:xfrm flipH="1">
            <a:off x="7002228" y="2126965"/>
            <a:ext cx="790231" cy="59605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Gerader Verbinder 28">
            <a:extLst>
              <a:ext uri="{FF2B5EF4-FFF2-40B4-BE49-F238E27FC236}">
                <a16:creationId xmlns:a16="http://schemas.microsoft.com/office/drawing/2014/main" id="{D52278B8-6EEB-48DF-B6C0-B26D7B3EBAB6}"/>
              </a:ext>
            </a:extLst>
          </p:cNvPr>
          <p:cNvCxnSpPr>
            <a:cxnSpLocks/>
            <a:stCxn id="44" idx="1"/>
            <a:endCxn id="39" idx="6"/>
          </p:cNvCxnSpPr>
          <p:nvPr/>
        </p:nvCxnSpPr>
        <p:spPr bwMode="auto">
          <a:xfrm flipH="1">
            <a:off x="7323863" y="3122551"/>
            <a:ext cx="685088" cy="53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Gerader Verbinder 29">
            <a:extLst>
              <a:ext uri="{FF2B5EF4-FFF2-40B4-BE49-F238E27FC236}">
                <a16:creationId xmlns:a16="http://schemas.microsoft.com/office/drawing/2014/main" id="{BE09558B-A33D-405A-9668-FFD7773E5ABD}"/>
              </a:ext>
            </a:extLst>
          </p:cNvPr>
          <p:cNvCxnSpPr>
            <a:cxnSpLocks/>
            <a:stCxn id="45" idx="0"/>
            <a:endCxn id="39" idx="5"/>
          </p:cNvCxnSpPr>
          <p:nvPr/>
        </p:nvCxnSpPr>
        <p:spPr bwMode="auto">
          <a:xfrm flipH="1" flipV="1">
            <a:off x="7002227" y="3532759"/>
            <a:ext cx="884234" cy="59605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705231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ím 9">
            <a:extLst>
              <a:ext uri="{FF2B5EF4-FFF2-40B4-BE49-F238E27FC236}">
                <a16:creationId xmlns:a16="http://schemas.microsoft.com/office/drawing/2014/main" id="{3FDE306B-81EC-49CB-B91A-27C2393B1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9660" y="107125"/>
            <a:ext cx="2492680" cy="556101"/>
          </a:xfrm>
        </p:spPr>
        <p:txBody>
          <a:bodyPr/>
          <a:lstStyle/>
          <a:p>
            <a:r>
              <a:rPr lang="hu-HU" b="1" dirty="0">
                <a:solidFill>
                  <a:srgbClr val="C00000"/>
                </a:solidFill>
                <a:latin typeface="Rubik"/>
              </a:rPr>
              <a:t>Bevezetés</a:t>
            </a:r>
          </a:p>
        </p:txBody>
      </p:sp>
      <p:sp>
        <p:nvSpPr>
          <p:cNvPr id="11" name="Szöveg helye 10">
            <a:extLst>
              <a:ext uri="{FF2B5EF4-FFF2-40B4-BE49-F238E27FC236}">
                <a16:creationId xmlns:a16="http://schemas.microsoft.com/office/drawing/2014/main" id="{5DDC9ACF-2349-4C0C-8B09-B5E757D557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5860" y="745435"/>
            <a:ext cx="11092069" cy="4890052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hu-HU" sz="2600" b="1" dirty="0">
                <a:solidFill>
                  <a:schemeClr val="accent4"/>
                </a:solidFill>
              </a:rPr>
              <a:t>Reagálás környezetünk változására</a:t>
            </a:r>
          </a:p>
          <a:p>
            <a:pPr marL="1143000" lvl="1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600" b="1" dirty="0"/>
              <a:t>hatékony és gördülékeny változásmenedzsment</a:t>
            </a:r>
          </a:p>
          <a:p>
            <a:pPr marL="1143000" lvl="1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600" b="1" dirty="0"/>
              <a:t>fenntartható fejlődés </a:t>
            </a:r>
            <a:r>
              <a:rPr lang="hu-HU" sz="2600" b="1" dirty="0">
                <a:hlinkClick r:id="rId3"/>
              </a:rPr>
              <a:t>irányelvei</a:t>
            </a:r>
            <a:r>
              <a:rPr lang="hu-HU" sz="2600" b="1" dirty="0"/>
              <a:t>nek követése (ENSZ)</a:t>
            </a:r>
          </a:p>
          <a:p>
            <a:pPr>
              <a:lnSpc>
                <a:spcPct val="100000"/>
              </a:lnSpc>
            </a:pPr>
            <a:r>
              <a:rPr lang="hu-HU" sz="2600" b="1" dirty="0">
                <a:solidFill>
                  <a:schemeClr val="accent4"/>
                </a:solidFill>
              </a:rPr>
              <a:t>A piacgazdaság szereplői fennmaradásra törekszenek</a:t>
            </a:r>
          </a:p>
          <a:p>
            <a:pPr marL="1143000" lvl="1" indent="-4572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600" b="1" dirty="0"/>
              <a:t>célul tűzik ki a folyamatos fejlődést és stabilitást</a:t>
            </a:r>
          </a:p>
          <a:p>
            <a:pPr>
              <a:lnSpc>
                <a:spcPct val="100000"/>
              </a:lnSpc>
            </a:pPr>
            <a:r>
              <a:rPr lang="hu-HU" sz="2600" b="1" dirty="0">
                <a:solidFill>
                  <a:schemeClr val="accent4"/>
                </a:solidFill>
              </a:rPr>
              <a:t>Nagyvállalatok működésében különös szerepet játszik</a:t>
            </a:r>
          </a:p>
          <a:p>
            <a:pPr marL="1143000" lvl="1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600" b="1" dirty="0"/>
              <a:t>az információk megszerzése, az információvagyonnal gazdálkodás</a:t>
            </a:r>
          </a:p>
          <a:p>
            <a:pPr marL="1143000" lvl="1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600" b="1" dirty="0"/>
              <a:t>gördülékeny változásmenedzsment</a:t>
            </a:r>
          </a:p>
          <a:p>
            <a:pPr marL="1143000" lvl="1" indent="-4572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600" b="1" dirty="0"/>
              <a:t>operatív tevékenységeket, stratégiai tervezést </a:t>
            </a:r>
            <a:r>
              <a:rPr lang="hu-HU" b="1" dirty="0"/>
              <a:t>érintő ismeretek</a:t>
            </a:r>
          </a:p>
        </p:txBody>
      </p:sp>
    </p:spTree>
    <p:extLst>
      <p:ext uri="{BB962C8B-B14F-4D97-AF65-F5344CB8AC3E}">
        <p14:creationId xmlns:p14="http://schemas.microsoft.com/office/powerpoint/2010/main" val="4954937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sz="3200" b="1" dirty="0">
                <a:solidFill>
                  <a:srgbClr val="C00000"/>
                </a:solidFill>
              </a:rPr>
              <a:t>Ellenállás az ü</a:t>
            </a:r>
            <a:r>
              <a:rPr lang="en-US" sz="3200" b="1" dirty="0" err="1">
                <a:solidFill>
                  <a:srgbClr val="C00000"/>
                </a:solidFill>
              </a:rPr>
              <a:t>zleti</a:t>
            </a:r>
            <a:r>
              <a:rPr lang="en-US" sz="3200" b="1" dirty="0">
                <a:solidFill>
                  <a:srgbClr val="C00000"/>
                </a:solidFill>
              </a:rPr>
              <a:t> </a:t>
            </a:r>
            <a:r>
              <a:rPr lang="en-US" sz="3200" b="1" dirty="0" err="1">
                <a:solidFill>
                  <a:srgbClr val="C00000"/>
                </a:solidFill>
              </a:rPr>
              <a:t>változás</a:t>
            </a:r>
            <a:r>
              <a:rPr lang="hu-HU" sz="3200" b="1" dirty="0" err="1">
                <a:solidFill>
                  <a:srgbClr val="C00000"/>
                </a:solidFill>
              </a:rPr>
              <a:t>sal</a:t>
            </a:r>
            <a:r>
              <a:rPr lang="hu-HU" sz="3200" b="1" dirty="0">
                <a:solidFill>
                  <a:srgbClr val="C00000"/>
                </a:solidFill>
              </a:rPr>
              <a:t> szemben</a:t>
            </a:r>
            <a:endParaRPr lang="en-US" altLang="zh-HK" sz="2800" b="1" cap="small" dirty="0">
              <a:solidFill>
                <a:srgbClr val="C00000"/>
              </a:solidFill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981723"/>
              </p:ext>
            </p:extLst>
          </p:nvPr>
        </p:nvGraphicFramePr>
        <p:xfrm>
          <a:off x="3020602" y="1251775"/>
          <a:ext cx="6150796" cy="3645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72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486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467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Verbal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Non-verbal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11283">
                <a:tc>
                  <a:txBody>
                    <a:bodyPr/>
                    <a:lstStyle/>
                    <a:p>
                      <a:pPr algn="ctr"/>
                      <a:r>
                        <a:rPr lang="de-DE" b="1" dirty="0" err="1"/>
                        <a:t>Active</a:t>
                      </a:r>
                      <a:endParaRPr lang="en-GB" b="1" dirty="0"/>
                    </a:p>
                  </a:txBody>
                  <a:tcPr vert="vert27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pPr algn="ctr"/>
                      <a:r>
                        <a:rPr lang="de-DE" b="0" u="sng" dirty="0"/>
                        <a:t>Opposition </a:t>
                      </a:r>
                    </a:p>
                    <a:p>
                      <a:r>
                        <a:rPr lang="de-DE" sz="1600" dirty="0"/>
                        <a:t>(counter-argumentation, </a:t>
                      </a:r>
                      <a:r>
                        <a:rPr lang="de-DE" sz="1600" dirty="0" err="1"/>
                        <a:t>accusation</a:t>
                      </a:r>
                      <a:r>
                        <a:rPr lang="de-DE" sz="1600" dirty="0"/>
                        <a:t>,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threat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polemic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stubbornness</a:t>
                      </a:r>
                      <a:r>
                        <a:rPr lang="de-DE" sz="1600" baseline="0" dirty="0"/>
                        <a:t>)</a:t>
                      </a:r>
                    </a:p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pPr algn="ctr"/>
                      <a:r>
                        <a:rPr lang="de-DE" u="sng" dirty="0"/>
                        <a:t>Agitation</a:t>
                      </a:r>
                    </a:p>
                    <a:p>
                      <a:r>
                        <a:rPr lang="de-DE" sz="1600" dirty="0"/>
                        <a:t>(</a:t>
                      </a:r>
                      <a:r>
                        <a:rPr lang="de-DE" sz="1600" dirty="0" err="1"/>
                        <a:t>restlessness</a:t>
                      </a:r>
                      <a:r>
                        <a:rPr lang="de-DE" sz="1600" dirty="0"/>
                        <a:t>, </a:t>
                      </a:r>
                      <a:r>
                        <a:rPr lang="de-DE" sz="1600" dirty="0" err="1"/>
                        <a:t>disagreement</a:t>
                      </a:r>
                      <a:r>
                        <a:rPr lang="de-DE" sz="1600" dirty="0"/>
                        <a:t>, </a:t>
                      </a:r>
                      <a:r>
                        <a:rPr lang="de-DE" sz="1600" dirty="0" err="1"/>
                        <a:t>intrigue</a:t>
                      </a:r>
                      <a:r>
                        <a:rPr lang="de-DE" sz="1600" dirty="0"/>
                        <a:t>, rumor, </a:t>
                      </a:r>
                      <a:r>
                        <a:rPr lang="de-DE" sz="1600" dirty="0" err="1"/>
                        <a:t>group</a:t>
                      </a:r>
                      <a:r>
                        <a:rPr lang="de-DE" sz="1600" dirty="0"/>
                        <a:t> </a:t>
                      </a:r>
                      <a:r>
                        <a:rPr lang="de-DE" sz="1600" dirty="0" err="1"/>
                        <a:t>building</a:t>
                      </a:r>
                      <a:r>
                        <a:rPr lang="de-DE" sz="1600" dirty="0"/>
                        <a:t>)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7563">
                <a:tc>
                  <a:txBody>
                    <a:bodyPr/>
                    <a:lstStyle/>
                    <a:p>
                      <a:pPr algn="ctr"/>
                      <a:r>
                        <a:rPr lang="de-DE" b="1" dirty="0"/>
                        <a:t>Passive</a:t>
                      </a:r>
                      <a:endParaRPr lang="en-GB" b="1" dirty="0"/>
                    </a:p>
                  </a:txBody>
                  <a:tcPr vert="vert27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pPr algn="ctr"/>
                      <a:r>
                        <a:rPr lang="de-DE" u="sng" dirty="0" err="1"/>
                        <a:t>Avoid</a:t>
                      </a:r>
                      <a:endParaRPr lang="de-DE" u="sng" dirty="0"/>
                    </a:p>
                    <a:p>
                      <a:r>
                        <a:rPr lang="de-DE" sz="1600" dirty="0"/>
                        <a:t>(</a:t>
                      </a:r>
                      <a:r>
                        <a:rPr lang="de-DE" sz="1600" dirty="0" err="1"/>
                        <a:t>Remain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silent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mess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around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make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fun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discuss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unimportant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stuff</a:t>
                      </a:r>
                      <a:r>
                        <a:rPr lang="de-DE" sz="1600" baseline="0" dirty="0"/>
                        <a:t>)</a:t>
                      </a:r>
                    </a:p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pPr algn="ctr"/>
                      <a:r>
                        <a:rPr lang="de-DE" u="sng" dirty="0" err="1"/>
                        <a:t>Listlessness</a:t>
                      </a:r>
                      <a:endParaRPr lang="de-DE" u="sng" dirty="0"/>
                    </a:p>
                    <a:p>
                      <a:r>
                        <a:rPr lang="de-DE" sz="1600" dirty="0"/>
                        <a:t>(</a:t>
                      </a:r>
                      <a:r>
                        <a:rPr lang="de-DE" sz="1600" dirty="0" err="1"/>
                        <a:t>inattention</a:t>
                      </a:r>
                      <a:r>
                        <a:rPr lang="de-DE" sz="1600" dirty="0"/>
                        <a:t>,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fatigue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stay</a:t>
                      </a:r>
                      <a:r>
                        <a:rPr lang="de-DE" sz="1600" baseline="0" dirty="0"/>
                        <a:t> </a:t>
                      </a:r>
                      <a:r>
                        <a:rPr lang="de-DE" sz="1600" baseline="0" dirty="0" err="1"/>
                        <a:t>away</a:t>
                      </a:r>
                      <a:r>
                        <a:rPr lang="de-DE" sz="1600" baseline="0" dirty="0"/>
                        <a:t>, </a:t>
                      </a:r>
                      <a:r>
                        <a:rPr lang="de-DE" sz="1600" baseline="0" dirty="0" err="1"/>
                        <a:t>disease</a:t>
                      </a:r>
                      <a:r>
                        <a:rPr lang="de-DE" sz="1600" baseline="0" dirty="0"/>
                        <a:t>)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8008416" y="6156087"/>
            <a:ext cx="23555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200" dirty="0" err="1"/>
              <a:t>Doppler</a:t>
            </a:r>
            <a:r>
              <a:rPr lang="uk-UA" sz="1200" dirty="0"/>
              <a:t> </a:t>
            </a:r>
            <a:r>
              <a:rPr lang="uk-UA" sz="1200" dirty="0" err="1"/>
              <a:t>and</a:t>
            </a:r>
            <a:r>
              <a:rPr lang="uk-UA" sz="1200" dirty="0"/>
              <a:t> </a:t>
            </a:r>
            <a:r>
              <a:rPr lang="uk-UA" sz="1200" dirty="0" err="1"/>
              <a:t>Lauterburg</a:t>
            </a:r>
            <a:r>
              <a:rPr lang="uk-UA" sz="1200" dirty="0"/>
              <a:t> (2002)</a:t>
            </a:r>
          </a:p>
        </p:txBody>
      </p:sp>
    </p:spTree>
    <p:extLst>
      <p:ext uri="{BB962C8B-B14F-4D97-AF65-F5344CB8AC3E}">
        <p14:creationId xmlns:p14="http://schemas.microsoft.com/office/powerpoint/2010/main" val="11532099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rtalom helye 7">
            <a:extLst>
              <a:ext uri="{FF2B5EF4-FFF2-40B4-BE49-F238E27FC236}">
                <a16:creationId xmlns:a16="http://schemas.microsoft.com/office/drawing/2014/main" id="{590DE880-DE7D-4D28-81CC-F40B61A422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6397" y="1359124"/>
            <a:ext cx="4500000" cy="3643350"/>
          </a:xfrm>
        </p:spPr>
        <p:txBody>
          <a:bodyPr/>
          <a:lstStyle/>
          <a:p>
            <a:pPr marL="0" indent="0" algn="ctr">
              <a:buNone/>
            </a:pPr>
            <a:r>
              <a:rPr lang="hu-HU" b="1" dirty="0"/>
              <a:t>monolit -&gt; integrált rendszer</a:t>
            </a:r>
          </a:p>
        </p:txBody>
      </p:sp>
      <p:sp>
        <p:nvSpPr>
          <p:cNvPr id="9" name="Tartalom helye 8">
            <a:extLst>
              <a:ext uri="{FF2B5EF4-FFF2-40B4-BE49-F238E27FC236}">
                <a16:creationId xmlns:a16="http://schemas.microsoft.com/office/drawing/2014/main" id="{F648E7FB-15AC-4866-B9BE-93D552F637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659460" y="1359124"/>
            <a:ext cx="5699840" cy="3643350"/>
          </a:xfrm>
        </p:spPr>
        <p:txBody>
          <a:bodyPr/>
          <a:lstStyle/>
          <a:p>
            <a:pPr marL="0" indent="0" algn="ctr">
              <a:buNone/>
            </a:pPr>
            <a:r>
              <a:rPr lang="hu-HU" b="1" dirty="0"/>
              <a:t>integrált rendszer + szolgáltatás</a:t>
            </a: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C95A89AB-C019-468C-A8AF-CF9693948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hu-HU" sz="3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grált rendszerkoncepció mellett egyedi szolgáltatások beépítése a rendszerkörnyezetb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253A9EA9-48DA-4286-9FB4-EB17B6021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7B34CBC-153B-421B-A189-DD0A81614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1</a:t>
            </a:fld>
            <a:endParaRPr lang="hu-HU"/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CF368C60-7B51-4DAA-B21B-27B66012E5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000" y="2058109"/>
            <a:ext cx="3696731" cy="2996547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D64A0796-22D1-43BB-B3BF-97687CC44B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397" y="1855526"/>
            <a:ext cx="5612903" cy="3146948"/>
          </a:xfrm>
          <a:prstGeom prst="rect">
            <a:avLst/>
          </a:prstGeom>
        </p:spPr>
      </p:pic>
      <p:sp>
        <p:nvSpPr>
          <p:cNvPr id="3" name="Élőláb helye 2">
            <a:extLst>
              <a:ext uri="{FF2B5EF4-FFF2-40B4-BE49-F238E27FC236}">
                <a16:creationId xmlns:a16="http://schemas.microsoft.com/office/drawing/2014/main" id="{174AD9FA-A4D2-57FA-7829-9E36DDFA8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226443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chseck 4"/>
          <p:cNvSpPr/>
          <p:nvPr/>
        </p:nvSpPr>
        <p:spPr bwMode="gray">
          <a:xfrm>
            <a:off x="2493459" y="2205318"/>
            <a:ext cx="1693059" cy="1438836"/>
          </a:xfrm>
          <a:prstGeom prst="hexag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de-DE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Sechseck 5"/>
          <p:cNvSpPr/>
          <p:nvPr/>
        </p:nvSpPr>
        <p:spPr bwMode="gray">
          <a:xfrm>
            <a:off x="3829201" y="2924736"/>
            <a:ext cx="1693059" cy="1438836"/>
          </a:xfrm>
          <a:prstGeom prst="hexagon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de-DE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Sechseck 6"/>
          <p:cNvSpPr/>
          <p:nvPr/>
        </p:nvSpPr>
        <p:spPr bwMode="gray">
          <a:xfrm>
            <a:off x="5151495" y="2205318"/>
            <a:ext cx="1693059" cy="1438836"/>
          </a:xfrm>
          <a:prstGeom prst="hexagon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de-DE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Sechseck 7"/>
          <p:cNvSpPr/>
          <p:nvPr/>
        </p:nvSpPr>
        <p:spPr bwMode="gray">
          <a:xfrm>
            <a:off x="6487237" y="2935942"/>
            <a:ext cx="1693059" cy="1438836"/>
          </a:xfrm>
          <a:prstGeom prst="hexagon">
            <a:avLst/>
          </a:prstGeom>
          <a:solidFill>
            <a:schemeClr val="tx2">
              <a:lumMod val="60000"/>
              <a:lumOff val="4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de-DE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Sechseck 8"/>
          <p:cNvSpPr/>
          <p:nvPr/>
        </p:nvSpPr>
        <p:spPr bwMode="gray">
          <a:xfrm>
            <a:off x="7822978" y="3597090"/>
            <a:ext cx="1693059" cy="1438836"/>
          </a:xfrm>
          <a:prstGeom prst="hexagon">
            <a:avLst/>
          </a:prstGeom>
          <a:solidFill>
            <a:srgbClr val="C00000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de-DE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678841" y="2786237"/>
            <a:ext cx="13357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EMPATHIZ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216288" y="3504860"/>
            <a:ext cx="13357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DEFIN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552030" y="2783361"/>
            <a:ext cx="13357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IDEATE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595135" y="3472603"/>
            <a:ext cx="159059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PROTOTYPE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8361271" y="4178009"/>
            <a:ext cx="973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TEST</a:t>
            </a:r>
          </a:p>
        </p:txBody>
      </p:sp>
      <p:sp>
        <p:nvSpPr>
          <p:cNvPr id="16" name="Title 7"/>
          <p:cNvSpPr>
            <a:spLocks noGrp="1"/>
          </p:cNvSpPr>
          <p:nvPr>
            <p:ph type="title"/>
          </p:nvPr>
        </p:nvSpPr>
        <p:spPr>
          <a:xfrm>
            <a:off x="1848000" y="353085"/>
            <a:ext cx="8496000" cy="1114524"/>
          </a:xfrm>
        </p:spPr>
        <p:txBody>
          <a:bodyPr>
            <a:normAutofit fontScale="90000"/>
          </a:bodyPr>
          <a:lstStyle/>
          <a:p>
            <a:pPr algn="ctr"/>
            <a:r>
              <a:rPr lang="hu-HU" sz="3600" b="1" dirty="0">
                <a:solidFill>
                  <a:srgbClr val="C00000"/>
                </a:solidFill>
              </a:rPr>
              <a:t>Újfajta gondolkodásmód folyamata:</a:t>
            </a:r>
            <a:br>
              <a:rPr lang="hu-HU" sz="3600" b="1" dirty="0">
                <a:solidFill>
                  <a:srgbClr val="C00000"/>
                </a:solidFill>
              </a:rPr>
            </a:br>
            <a:r>
              <a:rPr lang="de-DE" sz="3600" b="1" dirty="0">
                <a:solidFill>
                  <a:srgbClr val="002060"/>
                </a:solidFill>
              </a:rPr>
              <a:t>Design </a:t>
            </a:r>
            <a:r>
              <a:rPr lang="de-DE" sz="3600" b="1" dirty="0" err="1">
                <a:solidFill>
                  <a:srgbClr val="002060"/>
                </a:solidFill>
              </a:rPr>
              <a:t>Thinking</a:t>
            </a:r>
            <a:r>
              <a:rPr lang="de-DE" sz="3600" b="1" dirty="0">
                <a:solidFill>
                  <a:srgbClr val="002060"/>
                </a:solidFill>
              </a:rPr>
              <a:t> Process</a:t>
            </a:r>
            <a:br>
              <a:rPr lang="en-US" sz="1800" dirty="0"/>
            </a:br>
            <a:r>
              <a:rPr lang="en-US" sz="1700" cap="small" dirty="0"/>
              <a:t>Process Overview</a:t>
            </a:r>
            <a:endParaRPr lang="en-US" altLang="zh-HK" sz="1700" cap="small" dirty="0"/>
          </a:p>
        </p:txBody>
      </p:sp>
    </p:spTree>
    <p:extLst>
      <p:ext uri="{BB962C8B-B14F-4D97-AF65-F5344CB8AC3E}">
        <p14:creationId xmlns:p14="http://schemas.microsoft.com/office/powerpoint/2010/main" val="13745275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3063814"/>
              </p:ext>
            </p:extLst>
          </p:nvPr>
        </p:nvGraphicFramePr>
        <p:xfrm>
          <a:off x="2667970" y="746919"/>
          <a:ext cx="8148918" cy="43784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sz="3200" b="1" dirty="0">
                <a:solidFill>
                  <a:srgbClr val="C00000"/>
                </a:solidFill>
              </a:rPr>
              <a:t>Közösségi hálózat bevonása</a:t>
            </a:r>
            <a:endParaRPr lang="de-DE" sz="66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4384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0" y="829559"/>
            <a:ext cx="5043340" cy="3912123"/>
          </a:xfrm>
        </p:spPr>
        <p:txBody>
          <a:bodyPr/>
          <a:lstStyle/>
          <a:p>
            <a:pPr marL="285750" indent="-285750"/>
            <a:r>
              <a:rPr lang="en-GB" sz="2400" b="1" dirty="0"/>
              <a:t>Business Intelligence (BI)</a:t>
            </a:r>
          </a:p>
          <a:p>
            <a:pPr marL="503100" lvl="1" indent="-285750">
              <a:buFont typeface="Symbol" panose="05050102010706020507" pitchFamily="18" charset="2"/>
              <a:buChar char="-"/>
            </a:pPr>
            <a:r>
              <a:rPr lang="en-GB" dirty="0"/>
              <a:t>Systematic analysis (collect, analyse, visualize) of data for gaining new knowledge</a:t>
            </a:r>
            <a:endParaRPr lang="en-GB" b="1" dirty="0"/>
          </a:p>
          <a:p>
            <a:pPr marL="285750" indent="-285750"/>
            <a:r>
              <a:rPr lang="en-GB" sz="2400" b="1" dirty="0"/>
              <a:t>Big Data (amount)</a:t>
            </a:r>
          </a:p>
          <a:p>
            <a:pPr marL="503100" lvl="1" indent="-285750">
              <a:buFont typeface="Symbol" panose="05050102010706020507" pitchFamily="18" charset="2"/>
              <a:buChar char="-"/>
            </a:pPr>
            <a:r>
              <a:rPr lang="en-GB" dirty="0"/>
              <a:t>High data </a:t>
            </a:r>
            <a:r>
              <a:rPr lang="en-GB" b="1" dirty="0"/>
              <a:t>volumes</a:t>
            </a:r>
          </a:p>
          <a:p>
            <a:pPr marL="503100" lvl="1" indent="-285750">
              <a:buFont typeface="Symbol" panose="05050102010706020507" pitchFamily="18" charset="2"/>
              <a:buChar char="-"/>
            </a:pPr>
            <a:r>
              <a:rPr lang="en-GB" dirty="0"/>
              <a:t>An extraordinary </a:t>
            </a:r>
            <a:r>
              <a:rPr lang="en-GB" b="1" dirty="0"/>
              <a:t>variety</a:t>
            </a:r>
            <a:r>
              <a:rPr lang="en-GB" dirty="0"/>
              <a:t> of data types</a:t>
            </a:r>
          </a:p>
          <a:p>
            <a:pPr marL="503100" lvl="1" indent="-285750">
              <a:buFont typeface="Symbol" panose="05050102010706020507" pitchFamily="18" charset="2"/>
              <a:buChar char="-"/>
            </a:pPr>
            <a:r>
              <a:rPr lang="en-GB" dirty="0"/>
              <a:t>Data with a high data feed </a:t>
            </a:r>
            <a:r>
              <a:rPr lang="en-GB" b="1" dirty="0"/>
              <a:t>velocity</a:t>
            </a:r>
          </a:p>
          <a:p>
            <a:pPr marL="285750" indent="-285750"/>
            <a:r>
              <a:rPr lang="en-GB" sz="2400" b="1" dirty="0"/>
              <a:t>Smart Data (value)</a:t>
            </a:r>
          </a:p>
          <a:p>
            <a:pPr marL="0" indent="0">
              <a:buNone/>
            </a:pPr>
            <a:endParaRPr lang="en-GB" sz="2400" b="1" dirty="0"/>
          </a:p>
          <a:p>
            <a:pPr marL="285750" indent="-285750"/>
            <a:endParaRPr lang="en-GB" sz="2400" b="1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838200" y="174625"/>
            <a:ext cx="10086599" cy="654934"/>
          </a:xfrm>
        </p:spPr>
        <p:txBody>
          <a:bodyPr>
            <a:normAutofit/>
          </a:bodyPr>
          <a:lstStyle/>
          <a:p>
            <a:pPr algn="ctr"/>
            <a:r>
              <a:rPr lang="hu-HU" sz="3200" b="1" dirty="0">
                <a:solidFill>
                  <a:srgbClr val="C00000"/>
                </a:solidFill>
              </a:rPr>
              <a:t>SMAC: </a:t>
            </a:r>
            <a:r>
              <a:rPr lang="hu-HU" sz="3200" b="1" dirty="0" err="1">
                <a:solidFill>
                  <a:srgbClr val="C00000"/>
                </a:solidFill>
              </a:rPr>
              <a:t>Spcial</a:t>
            </a:r>
            <a:r>
              <a:rPr lang="hu-HU" sz="3200" b="1" dirty="0">
                <a:solidFill>
                  <a:srgbClr val="C00000"/>
                </a:solidFill>
              </a:rPr>
              <a:t> – Mobile – </a:t>
            </a:r>
            <a:r>
              <a:rPr lang="hu-HU" sz="3200" b="1" u="sng" dirty="0" err="1">
                <a:solidFill>
                  <a:srgbClr val="C00000"/>
                </a:solidFill>
              </a:rPr>
              <a:t>Analytics</a:t>
            </a:r>
            <a:r>
              <a:rPr lang="hu-HU" sz="3200" b="1" dirty="0">
                <a:solidFill>
                  <a:srgbClr val="C00000"/>
                </a:solidFill>
              </a:rPr>
              <a:t> - </a:t>
            </a:r>
            <a:r>
              <a:rPr lang="hu-HU" sz="3200" b="1" dirty="0" err="1">
                <a:solidFill>
                  <a:srgbClr val="C00000"/>
                </a:solidFill>
              </a:rPr>
              <a:t>Cloud</a:t>
            </a:r>
            <a:endParaRPr lang="de-DE" sz="6600" b="1" dirty="0">
              <a:solidFill>
                <a:srgbClr val="C0000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072" y="763571"/>
            <a:ext cx="5521727" cy="4123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7">
            <a:extLst>
              <a:ext uri="{FF2B5EF4-FFF2-40B4-BE49-F238E27FC236}">
                <a16:creationId xmlns:a16="http://schemas.microsoft.com/office/drawing/2014/main" id="{95F2B51B-C456-467A-895A-C6171F7A36FF}"/>
              </a:ext>
            </a:extLst>
          </p:cNvPr>
          <p:cNvSpPr txBox="1"/>
          <p:nvPr/>
        </p:nvSpPr>
        <p:spPr>
          <a:xfrm>
            <a:off x="0" y="4886655"/>
            <a:ext cx="7728551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lang="de-DE" sz="18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57200" algn="l" defTabSz="914400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18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914400" algn="l" defTabSz="914400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371600" algn="l" defTabSz="914400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828800" algn="l" defTabSz="914400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653" indent="-28565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</a:pPr>
            <a:r>
              <a:rPr lang="de-DE" sz="2000" b="1" kern="0" dirty="0" err="1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S</a:t>
            </a:r>
            <a:r>
              <a:rPr lang="de-DE" sz="2000" kern="0" dirty="0" err="1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ocial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 – </a:t>
            </a:r>
            <a:r>
              <a:rPr lang="de-DE" sz="2000" kern="0" dirty="0" err="1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transforms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e-DE" sz="2000" kern="0" dirty="0" err="1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core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e-DE" sz="2000" kern="0" dirty="0" err="1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business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e-DE" sz="2000" kern="0" dirty="0" err="1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processes</a:t>
            </a:r>
            <a:endParaRPr lang="de-DE" sz="2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285653" indent="-28565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</a:pPr>
            <a:r>
              <a:rPr lang="de-DE" sz="2000" b="1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M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obile - </a:t>
            </a:r>
            <a:r>
              <a:rPr lang="de-DE" sz="2000" dirty="0" err="1">
                <a:solidFill>
                  <a:srgbClr val="002060"/>
                </a:solidFill>
              </a:rPr>
              <a:t>connects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employees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to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their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work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and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each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other</a:t>
            </a:r>
            <a:endParaRPr lang="en-US" sz="2000" dirty="0">
              <a:solidFill>
                <a:srgbClr val="002060"/>
              </a:solidFill>
            </a:endParaRPr>
          </a:p>
          <a:p>
            <a:pPr marL="285653" indent="-28565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</a:pPr>
            <a:r>
              <a:rPr lang="de-DE" sz="2000" b="1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A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nalytics - </a:t>
            </a:r>
            <a:r>
              <a:rPr lang="de-DE" sz="2000" dirty="0" err="1">
                <a:solidFill>
                  <a:srgbClr val="002060"/>
                </a:solidFill>
              </a:rPr>
              <a:t>helps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companies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innovate</a:t>
            </a:r>
            <a:endParaRPr lang="de-DE" sz="2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285653" indent="-28565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Char char="•"/>
            </a:pPr>
            <a:r>
              <a:rPr lang="de-DE" sz="2000" b="1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C</a:t>
            </a:r>
            <a:r>
              <a:rPr lang="de-DE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loud - </a:t>
            </a:r>
            <a:r>
              <a:rPr lang="de-DE" sz="2000" dirty="0" err="1">
                <a:solidFill>
                  <a:srgbClr val="002060"/>
                </a:solidFill>
              </a:rPr>
              <a:t>drives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business</a:t>
            </a:r>
            <a:r>
              <a:rPr lang="de-DE" sz="2000" dirty="0">
                <a:solidFill>
                  <a:srgbClr val="002060"/>
                </a:solidFill>
              </a:rPr>
              <a:t> </a:t>
            </a:r>
            <a:r>
              <a:rPr lang="de-DE" sz="2000" dirty="0" err="1">
                <a:solidFill>
                  <a:srgbClr val="002060"/>
                </a:solidFill>
              </a:rPr>
              <a:t>agility</a:t>
            </a:r>
            <a:endParaRPr lang="de-DE" sz="2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04069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61" y="1116156"/>
            <a:ext cx="3737762" cy="37902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sz="2800" b="1" dirty="0">
                <a:solidFill>
                  <a:srgbClr val="FF0000"/>
                </a:solidFill>
              </a:rPr>
              <a:t>Modern SAP Fiori felhasználói felület</a:t>
            </a:r>
            <a:endParaRPr lang="de-DE" sz="2400" dirty="0"/>
          </a:p>
        </p:txBody>
      </p:sp>
      <p:sp>
        <p:nvSpPr>
          <p:cNvPr id="18" name="Ovale Legende 17"/>
          <p:cNvSpPr/>
          <p:nvPr/>
        </p:nvSpPr>
        <p:spPr bwMode="auto">
          <a:xfrm>
            <a:off x="5874494" y="3369866"/>
            <a:ext cx="2059708" cy="618838"/>
          </a:xfrm>
          <a:prstGeom prst="wedgeEllipseCallout">
            <a:avLst>
              <a:gd name="adj1" fmla="val -51317"/>
              <a:gd name="adj2" fmla="val 194872"/>
            </a:avLst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hu-HU" sz="1400" kern="0" dirty="0" err="1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Testreszabás</a:t>
            </a:r>
            <a:endParaRPr lang="en-US" sz="1200" kern="0" dirty="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2" name="Grafik 6">
            <a:extLst>
              <a:ext uri="{FF2B5EF4-FFF2-40B4-BE49-F238E27FC236}">
                <a16:creationId xmlns:a16="http://schemas.microsoft.com/office/drawing/2014/main" id="{D1F8DE31-86A1-439E-A5BA-A51C32BD769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978" y="1402232"/>
            <a:ext cx="4808743" cy="3479559"/>
          </a:xfrm>
          <a:prstGeom prst="rect">
            <a:avLst/>
          </a:prstGeom>
        </p:spPr>
      </p:pic>
      <p:pic>
        <p:nvPicPr>
          <p:cNvPr id="13" name="Grafik 8">
            <a:extLst>
              <a:ext uri="{FF2B5EF4-FFF2-40B4-BE49-F238E27FC236}">
                <a16:creationId xmlns:a16="http://schemas.microsoft.com/office/drawing/2014/main" id="{C0958236-F5CF-47EB-BB85-B2807641FC1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618" y="1930609"/>
            <a:ext cx="3962400" cy="2829842"/>
          </a:xfrm>
          <a:prstGeom prst="rect">
            <a:avLst/>
          </a:prstGeom>
        </p:spPr>
      </p:pic>
      <p:sp>
        <p:nvSpPr>
          <p:cNvPr id="15" name="Ovale Legende 17">
            <a:extLst>
              <a:ext uri="{FF2B5EF4-FFF2-40B4-BE49-F238E27FC236}">
                <a16:creationId xmlns:a16="http://schemas.microsoft.com/office/drawing/2014/main" id="{2490B998-AEAC-4EA0-8FB7-9B41C76B8F94}"/>
              </a:ext>
            </a:extLst>
          </p:cNvPr>
          <p:cNvSpPr/>
          <p:nvPr/>
        </p:nvSpPr>
        <p:spPr bwMode="auto">
          <a:xfrm>
            <a:off x="4505964" y="2476779"/>
            <a:ext cx="2059708" cy="618838"/>
          </a:xfrm>
          <a:prstGeom prst="wedgeEllipseCallout">
            <a:avLst>
              <a:gd name="adj1" fmla="val -51317"/>
              <a:gd name="adj2" fmla="val 194872"/>
            </a:avLst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hu-HU" sz="1400" kern="0" dirty="0" err="1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Testreszabás</a:t>
            </a:r>
            <a:endParaRPr lang="en-US" sz="1200" kern="0" dirty="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Ovale Legende 18">
            <a:extLst>
              <a:ext uri="{FF2B5EF4-FFF2-40B4-BE49-F238E27FC236}">
                <a16:creationId xmlns:a16="http://schemas.microsoft.com/office/drawing/2014/main" id="{5C3BD93D-C46F-4F96-9804-3ADD4CA3608D}"/>
              </a:ext>
            </a:extLst>
          </p:cNvPr>
          <p:cNvSpPr/>
          <p:nvPr/>
        </p:nvSpPr>
        <p:spPr bwMode="auto">
          <a:xfrm>
            <a:off x="10003719" y="3766842"/>
            <a:ext cx="2059708" cy="618838"/>
          </a:xfrm>
          <a:prstGeom prst="wedgeEllipseCallout">
            <a:avLst>
              <a:gd name="adj1" fmla="val -37864"/>
              <a:gd name="adj2" fmla="val -124530"/>
            </a:avLst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hu-HU" sz="1400" kern="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Analitika</a:t>
            </a:r>
            <a:endParaRPr lang="en-US" sz="1200" kern="0" dirty="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6" name="Ovale Legende 16">
            <a:extLst>
              <a:ext uri="{FF2B5EF4-FFF2-40B4-BE49-F238E27FC236}">
                <a16:creationId xmlns:a16="http://schemas.microsoft.com/office/drawing/2014/main" id="{B9C864A4-E031-450A-872A-1FAAFA59E01F}"/>
              </a:ext>
            </a:extLst>
          </p:cNvPr>
          <p:cNvSpPr/>
          <p:nvPr/>
        </p:nvSpPr>
        <p:spPr bwMode="auto">
          <a:xfrm>
            <a:off x="1303129" y="3142012"/>
            <a:ext cx="2059708" cy="699012"/>
          </a:xfrm>
          <a:prstGeom prst="wedgeEllipseCallout">
            <a:avLst>
              <a:gd name="adj1" fmla="val 70657"/>
              <a:gd name="adj2" fmla="val -181931"/>
            </a:avLst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SAP S/4HANA</a:t>
            </a:r>
            <a:br>
              <a:rPr lang="en-US" sz="1400" kern="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1400" kern="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alkalmazások</a:t>
            </a:r>
            <a:endParaRPr lang="en-US" sz="1200" kern="0" dirty="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29022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CAC3E5CB-2142-4BE8-B9DA-7F87A3BA45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233487"/>
            <a:ext cx="11328000" cy="3191029"/>
          </a:xfrm>
        </p:spPr>
        <p:txBody>
          <a:bodyPr/>
          <a:lstStyle/>
          <a:p>
            <a:pPr marL="514350" indent="-514350" algn="just" rtl="0" fontAlgn="base">
              <a:buFont typeface="+mj-lt"/>
              <a:buAutoNum type="arabicPeriod"/>
            </a:pPr>
            <a:r>
              <a:rPr lang="en-US" sz="2000" b="1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T. Orosz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,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”Model transition by means of </a:t>
            </a:r>
            <a:r>
              <a:rPr lang="en-US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Zachmann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Enterprise Architecture Framework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”, in 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10 TH JUBILEE IEEE INTERNATIONAL CONFERENCE ON COMPUTATIONAL CYBERNETICS AND CYBER-MEDICAL SYSTEMS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. 2022.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6 </a:t>
            </a:r>
            <a:r>
              <a:rPr lang="hu-HU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Pages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.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​</a:t>
            </a:r>
            <a:endParaRPr lang="hu-H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514350" indent="-514350" algn="just" rtl="0" fontAlgn="base">
              <a:buFont typeface="+mj-lt"/>
              <a:buAutoNum type="arabicPeriod"/>
            </a:pPr>
            <a:r>
              <a:rPr lang="en-US" sz="2000" b="1" dirty="0">
                <a:solidFill>
                  <a:srgbClr val="151F39"/>
                </a:solidFill>
                <a:latin typeface="Open Sans" panose="020B0606030504020204" pitchFamily="34" charset="0"/>
              </a:rPr>
              <a:t>T. Orosz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, “</a:t>
            </a:r>
            <a:r>
              <a:rPr lang="en-US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Functionaility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en-US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Affacted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SAP Digital Transformation” in 26th IEEE International Conference on Intelligent Engineering Systems 2022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5 </a:t>
            </a:r>
            <a:r>
              <a:rPr lang="hu-HU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Pages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.</a:t>
            </a:r>
            <a:r>
              <a:rPr lang="hu-HU" sz="2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​</a:t>
            </a:r>
            <a:endParaRPr lang="hu-H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514350" indent="-514350" algn="just" rtl="0" fontAlgn="base">
              <a:buFont typeface="+mj-lt"/>
              <a:buAutoNum type="arabicPeriod"/>
            </a:pPr>
            <a:r>
              <a:rPr lang="en-US" sz="2000" b="1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T. Orosz</a:t>
            </a:r>
            <a:r>
              <a:rPr lang="hu-HU" sz="2000" b="1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,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  “User experience improvement by means of innovative SAP user interfaces” in 26th IEEE International Conference on Intelligent Engineering Systems 2022 5 Pages.</a:t>
            </a:r>
            <a:endParaRPr lang="hu-HU" sz="2000" dirty="0">
              <a:solidFill>
                <a:srgbClr val="151F39"/>
              </a:solidFill>
              <a:latin typeface="Open Sans" panose="020B0606030504020204" pitchFamily="34" charset="0"/>
            </a:endParaRPr>
          </a:p>
          <a:p>
            <a:pPr marL="514350" indent="-514350" algn="just" rtl="0" fontAlgn="base">
              <a:buFont typeface="+mj-lt"/>
              <a:buAutoNum type="arabicPeriod"/>
            </a:pPr>
            <a:r>
              <a:rPr lang="en-US" sz="2000" b="1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T. Orosz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, “Dependency analysis of effective hybrid ERP solution deployment by means of composing customer-specific SAP best practices”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,</a:t>
            </a:r>
            <a:r>
              <a:rPr lang="en-US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hu-HU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Intelligent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Systems </a:t>
            </a:r>
            <a:r>
              <a:rPr lang="hu-HU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with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hu-HU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Applications</a:t>
            </a:r>
            <a:r>
              <a:rPr lang="hu-HU" sz="2000" b="0" i="0" u="none" strike="noStrike" dirty="0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, 15 </a:t>
            </a:r>
            <a:r>
              <a:rPr lang="hu-HU" sz="2000" b="0" i="0" u="none" strike="noStrike" dirty="0" err="1">
                <a:solidFill>
                  <a:srgbClr val="151F39"/>
                </a:solidFill>
                <a:effectLst/>
                <a:latin typeface="Open Sans" panose="020B0606030504020204" pitchFamily="34" charset="0"/>
              </a:rPr>
              <a:t>Pages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​</a:t>
            </a:r>
            <a:endParaRPr lang="en-US" sz="20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hu-HU" dirty="0"/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7FF9419D-84ED-46EE-8391-8112AB762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4232" y="174625"/>
            <a:ext cx="10000567" cy="749607"/>
          </a:xfrm>
        </p:spPr>
        <p:txBody>
          <a:bodyPr>
            <a:normAutofit/>
          </a:bodyPr>
          <a:lstStyle/>
          <a:p>
            <a:r>
              <a:rPr lang="hu-HU" sz="3600" dirty="0"/>
              <a:t>Benyújtott publikációk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A65BF677-9E9D-BB6A-A425-ACABDD594705}"/>
              </a:ext>
            </a:extLst>
          </p:cNvPr>
          <p:cNvSpPr txBox="1"/>
          <p:nvPr/>
        </p:nvSpPr>
        <p:spPr>
          <a:xfrm>
            <a:off x="838200" y="4404851"/>
            <a:ext cx="6174658" cy="7694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Egyéb publikációk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4DDC4C7E-DC24-1E6E-0577-016889E9CBF6}"/>
              </a:ext>
            </a:extLst>
          </p:cNvPr>
          <p:cNvSpPr txBox="1"/>
          <p:nvPr/>
        </p:nvSpPr>
        <p:spPr>
          <a:xfrm>
            <a:off x="838200" y="5087453"/>
            <a:ext cx="1109078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hu-HU" sz="2000" b="1" dirty="0">
                <a:solidFill>
                  <a:srgbClr val="151F39"/>
                </a:solidFill>
                <a:latin typeface="Open Sans" panose="020B0606030504020204" pitchFamily="34" charset="0"/>
              </a:rPr>
              <a:t>Szekcióvezetés</a:t>
            </a:r>
            <a:r>
              <a:rPr lang="hu-HU" sz="2000" dirty="0">
                <a:solidFill>
                  <a:srgbClr val="151F39"/>
                </a:solidFill>
                <a:latin typeface="Open Sans" panose="020B0606030504020204" pitchFamily="34" charset="0"/>
              </a:rPr>
              <a:t>: </a:t>
            </a:r>
            <a:r>
              <a:rPr lang="en-US" sz="2000" dirty="0">
                <a:solidFill>
                  <a:srgbClr val="151F39"/>
                </a:solidFill>
                <a:latin typeface="Open Sans" panose="020B0606030504020204" pitchFamily="34" charset="0"/>
              </a:rPr>
              <a:t>Adaptive Physics Contest Preparation Applying Data Science Elements</a:t>
            </a:r>
            <a:r>
              <a:rPr lang="hu-HU" sz="2000" dirty="0">
                <a:solidFill>
                  <a:srgbClr val="151F39"/>
                </a:solidFill>
                <a:latin typeface="Open Sans" panose="020B0606030504020204" pitchFamily="34" charset="0"/>
              </a:rPr>
              <a:t>, National </a:t>
            </a:r>
            <a:r>
              <a:rPr lang="hu-HU" sz="2000" dirty="0" err="1">
                <a:solidFill>
                  <a:srgbClr val="151F39"/>
                </a:solidFill>
                <a:latin typeface="Open Sans" panose="020B0606030504020204" pitchFamily="34" charset="0"/>
              </a:rPr>
              <a:t>Meetings</a:t>
            </a:r>
            <a:r>
              <a:rPr lang="hu-HU" sz="2000" dirty="0">
                <a:solidFill>
                  <a:srgbClr val="151F39"/>
                </a:solidFill>
                <a:latin typeface="Open Sans" panose="020B0606030504020204" pitchFamily="34" charset="0"/>
              </a:rPr>
              <a:t> of </a:t>
            </a:r>
            <a:r>
              <a:rPr lang="hu-HU" sz="2000" dirty="0" err="1">
                <a:solidFill>
                  <a:srgbClr val="151F39"/>
                </a:solidFill>
                <a:latin typeface="Open Sans" panose="020B0606030504020204" pitchFamily="34" charset="0"/>
              </a:rPr>
              <a:t>the</a:t>
            </a:r>
            <a:r>
              <a:rPr lang="hu-HU" sz="2000" dirty="0">
                <a:solidFill>
                  <a:srgbClr val="151F39"/>
                </a:solidFill>
                <a:latin typeface="Open Sans" panose="020B0606030504020204" pitchFamily="34" charset="0"/>
              </a:rPr>
              <a:t> American </a:t>
            </a:r>
            <a:r>
              <a:rPr lang="hu-HU" sz="2000" dirty="0" err="1">
                <a:solidFill>
                  <a:srgbClr val="151F39"/>
                </a:solidFill>
                <a:latin typeface="Open Sans" panose="020B0606030504020204" pitchFamily="34" charset="0"/>
              </a:rPr>
              <a:t>Association</a:t>
            </a:r>
            <a:r>
              <a:rPr lang="hu-HU" sz="2000" dirty="0">
                <a:solidFill>
                  <a:srgbClr val="151F39"/>
                </a:solidFill>
                <a:latin typeface="Open Sans" panose="020B0606030504020204" pitchFamily="34" charset="0"/>
              </a:rPr>
              <a:t> of </a:t>
            </a:r>
            <a:r>
              <a:rPr lang="hu-HU" sz="2000" dirty="0" err="1">
                <a:solidFill>
                  <a:srgbClr val="151F39"/>
                </a:solidFill>
                <a:latin typeface="Open Sans" panose="020B0606030504020204" pitchFamily="34" charset="0"/>
              </a:rPr>
              <a:t>Physics</a:t>
            </a:r>
            <a:r>
              <a:rPr lang="hu-HU" sz="2000" dirty="0">
                <a:solidFill>
                  <a:srgbClr val="151F39"/>
                </a:solidFill>
                <a:latin typeface="Open Sans" panose="020B0606030504020204" pitchFamily="34" charset="0"/>
              </a:rPr>
              <a:t> </a:t>
            </a:r>
            <a:r>
              <a:rPr lang="hu-HU" sz="2000" dirty="0" err="1">
                <a:solidFill>
                  <a:srgbClr val="151F39"/>
                </a:solidFill>
                <a:latin typeface="Open Sans" panose="020B0606030504020204" pitchFamily="34" charset="0"/>
              </a:rPr>
              <a:t>Teachers</a:t>
            </a:r>
            <a:endParaRPr lang="hu-HU" sz="2000" dirty="0">
              <a:solidFill>
                <a:srgbClr val="151F39"/>
              </a:solidFill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4560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>
            <a:extLst>
              <a:ext uri="{FF2B5EF4-FFF2-40B4-BE49-F238E27FC236}">
                <a16:creationId xmlns:a16="http://schemas.microsoft.com/office/drawing/2014/main" id="{DF356E55-5A90-452C-A3A8-F67AACD9D0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0077" y="2402732"/>
            <a:ext cx="10080000" cy="1716709"/>
          </a:xfrm>
        </p:spPr>
        <p:txBody>
          <a:bodyPr>
            <a:normAutofit fontScale="90000"/>
          </a:bodyPr>
          <a:lstStyle/>
          <a:p>
            <a:pPr algn="ctr"/>
            <a:r>
              <a:rPr lang="hu-HU" sz="6000" b="1" dirty="0">
                <a:solidFill>
                  <a:srgbClr val="C00000"/>
                </a:solidFill>
              </a:rPr>
              <a:t>Köszönöm  A figyelmet!</a:t>
            </a:r>
          </a:p>
        </p:txBody>
      </p:sp>
    </p:spTree>
    <p:extLst>
      <p:ext uri="{BB962C8B-B14F-4D97-AF65-F5344CB8AC3E}">
        <p14:creationId xmlns:p14="http://schemas.microsoft.com/office/powerpoint/2010/main" val="202856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2CB15FB2-B1C7-467A-AF6D-535F34985F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255" y="507600"/>
            <a:ext cx="12169832" cy="4529914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hu-HU" dirty="0">
                <a:solidFill>
                  <a:srgbClr val="3333CC"/>
                </a:solidFill>
                <a:latin typeface="Rubik"/>
              </a:rPr>
              <a:t>Metodika: 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dirty="0">
                <a:latin typeface="Rubik"/>
              </a:rPr>
              <a:t>ERP rendszerek optimalizációja innovatív és fenntartható megoldások szintézisével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dirty="0">
                <a:latin typeface="Rubik"/>
              </a:rPr>
              <a:t>Ügyfélközpontú ERP megoldások 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dirty="0">
                <a:latin typeface="Rubik"/>
              </a:rPr>
              <a:t>Fenntartható ERP rendszerek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dirty="0">
                <a:latin typeface="Rubik"/>
              </a:rPr>
              <a:t>Innovatív ERP változáskezelé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dirty="0">
                <a:latin typeface="Rubik"/>
              </a:rPr>
              <a:t>Robosztus ERP rendszerek</a:t>
            </a:r>
          </a:p>
          <a:p>
            <a:endParaRPr lang="hu-HU" dirty="0"/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68A002FD-9F92-437A-9AC4-E95C45DAE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0"/>
            <a:ext cx="10091651" cy="507600"/>
          </a:xfrm>
        </p:spPr>
        <p:txBody>
          <a:bodyPr>
            <a:noAutofit/>
          </a:bodyPr>
          <a:lstStyle/>
          <a:p>
            <a:r>
              <a:rPr lang="hu-HU" sz="3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utatási Célok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B4624086-EC02-474B-8364-0D4E5398088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DEB6909-A047-4784-AF01-4CF578543D7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3</a:t>
            </a:fld>
            <a:endParaRPr lang="en-US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C74A210-B8C5-0821-29EA-884DEF253F6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334496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64A92872-3CC5-488D-BC06-22540AD05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hu-HU" sz="2800" b="1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800" b="1" dirty="0"/>
              <a:t>ERP rendszerekben alkalmazott technológiák optimalizálása, illesztése és elosztása: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800" b="1" dirty="0"/>
              <a:t>Változáskezelés menedzsmentje, verziókezelé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800" b="1" dirty="0"/>
              <a:t>Üzleti funkciókhoz illeszté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800" b="1" dirty="0"/>
              <a:t>Szervezeti hatékonyságvizsgálat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hu-HU" sz="2800" b="1" dirty="0"/>
              <a:t>Legjobb gyakorlatok, útmutatók felülvizsgálata: építőkockák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2DA861F5-2175-45AC-86BC-2A2802DAF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sz="32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rvezett megvalósítás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9FCF1C3-2476-4A4B-A90F-FDEE52D8E7F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15C9D50B-4BD2-4A62-9CDD-DC86FCCD202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4</a:t>
            </a:fld>
            <a:endParaRPr lang="en-US"/>
          </a:p>
        </p:txBody>
      </p:sp>
      <p:sp>
        <p:nvSpPr>
          <p:cNvPr id="7" name="Élőláb helye 6">
            <a:extLst>
              <a:ext uri="{FF2B5EF4-FFF2-40B4-BE49-F238E27FC236}">
                <a16:creationId xmlns:a16="http://schemas.microsoft.com/office/drawing/2014/main" id="{B1852739-6FF7-FCA7-137E-0D682AB10A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392944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DA40E8D4-4A7D-4AFD-8591-B7D7B890F5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 dirty="0"/>
          </a:p>
          <a:p>
            <a:r>
              <a:rPr lang="hu-HU" dirty="0"/>
              <a:t>Rendszerkörnyezet vizsgálata, felmérése</a:t>
            </a:r>
          </a:p>
          <a:p>
            <a:r>
              <a:rPr lang="hu-HU" dirty="0"/>
              <a:t>Meglévő funkciók vizsgálata, újakra javaslattétel</a:t>
            </a:r>
          </a:p>
          <a:p>
            <a:r>
              <a:rPr lang="hu-HU" dirty="0"/>
              <a:t>Standard és saját megoldások kiválasztása</a:t>
            </a:r>
          </a:p>
          <a:p>
            <a:r>
              <a:rPr lang="hu-HU" dirty="0"/>
              <a:t>Alkalmazások szervezethez való illesztése</a:t>
            </a:r>
          </a:p>
          <a:p>
            <a:r>
              <a:rPr lang="hu-HU" dirty="0"/>
              <a:t>Tesztelés, visszacsatolás, továbbfejlesztés lehetősége</a:t>
            </a:r>
          </a:p>
          <a:p>
            <a:r>
              <a:rPr lang="hu-HU" dirty="0"/>
              <a:t>Fenntarthatóság biztosítása</a:t>
            </a:r>
          </a:p>
          <a:p>
            <a:endParaRPr lang="hu-HU" dirty="0"/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242B9B0F-4E32-4502-8D2F-1B73A9670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5" y="180975"/>
            <a:ext cx="10900372" cy="1143624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hu-HU" sz="28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Ügyfélközpontú szemléletmódok, eljárások megvalósítása vállalati környezetben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C954071E-83EE-459D-B9FF-6016BA5532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D2D70AF-E6F0-4470-82B1-7950B6B5010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5</a:t>
            </a:fld>
            <a:endParaRPr lang="en-US"/>
          </a:p>
        </p:txBody>
      </p:sp>
      <p:sp>
        <p:nvSpPr>
          <p:cNvPr id="7" name="Élőláb helye 6">
            <a:extLst>
              <a:ext uri="{FF2B5EF4-FFF2-40B4-BE49-F238E27FC236}">
                <a16:creationId xmlns:a16="http://schemas.microsoft.com/office/drawing/2014/main" id="{796D18B5-48D8-36BD-68B7-A5F0042B8A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419373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ABA7D541-ED0E-0729-AE23-DAC553BD1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255" y="2028377"/>
            <a:ext cx="12169832" cy="2799802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Üzleti funkciók fenntarthatósága 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Párhuzamos megoldások megvalósítása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Innovatív eszközök illesztése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Hatékony  vállalati és partneri tudásmenedzsment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184D9E28-8226-6368-625D-78F683F11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482" y="642796"/>
            <a:ext cx="8147378" cy="1312752"/>
          </a:xfrm>
        </p:spPr>
        <p:txBody>
          <a:bodyPr>
            <a:normAutofit/>
          </a:bodyPr>
          <a:lstStyle/>
          <a:p>
            <a:pPr algn="ctr"/>
            <a:r>
              <a:rPr lang="hu-HU" sz="31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chnológiai kihívások rendszerfrissítések, bevezetések során</a:t>
            </a:r>
            <a:endParaRPr lang="hu-HU" dirty="0"/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3F7A8185-B643-DFEB-6AD3-0D791E1C11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1CA048A-6AD4-A57A-B25E-6EDA8C574D0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6</a:t>
            </a:fld>
            <a:endParaRPr lang="en-US"/>
          </a:p>
        </p:txBody>
      </p:sp>
      <p:sp>
        <p:nvSpPr>
          <p:cNvPr id="9" name="Élőláb helye 8">
            <a:extLst>
              <a:ext uri="{FF2B5EF4-FFF2-40B4-BE49-F238E27FC236}">
                <a16:creationId xmlns:a16="http://schemas.microsoft.com/office/drawing/2014/main" id="{3D725BF0-2AFD-08FE-C860-E96873B959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186904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ABA7D541-ED0E-0729-AE23-DAC553BD1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255" y="2028377"/>
            <a:ext cx="12169832" cy="2799802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Üzleti folyamatok és kapcsolódó technológiák optimalizálása  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Üzleti funkciók megvalósítása szervezeti nézőpontból (aspektusból) 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Átfogó innovatív megoldások (kapcsolódó megoldások azonosításával)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Rugalmas, adaptív válaszok (reakciók) 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184D9E28-8226-6368-625D-78F683F11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482" y="642796"/>
            <a:ext cx="8147378" cy="1312752"/>
          </a:xfrm>
        </p:spPr>
        <p:txBody>
          <a:bodyPr>
            <a:normAutofit fontScale="90000"/>
          </a:bodyPr>
          <a:lstStyle/>
          <a:p>
            <a:pPr algn="ctr"/>
            <a:r>
              <a:rPr lang="hu-HU" sz="31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aci előnyök felismerése és érvényesítése adott rendszerkörnyezetben</a:t>
            </a:r>
            <a:endParaRPr lang="hu-HU" dirty="0"/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3F7A8185-B643-DFEB-6AD3-0D791E1C11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1CA048A-6AD4-A57A-B25E-6EDA8C574D0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7</a:t>
            </a:fld>
            <a:endParaRPr lang="en-US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EB126934-79B1-05C2-FDA5-BEA40AADE07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793448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ABA7D541-ED0E-0729-AE23-DAC553BD17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255" y="2028377"/>
            <a:ext cx="12169832" cy="2799802"/>
          </a:xfrm>
        </p:spPr>
        <p:txBody>
          <a:bodyPr/>
          <a:lstStyle/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Ügyfélközpontú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Robosztus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Innovatív</a:t>
            </a:r>
          </a:p>
          <a:p>
            <a:pPr lvl="1">
              <a:lnSpc>
                <a:spcPct val="150000"/>
              </a:lnSpc>
            </a:pPr>
            <a:r>
              <a:rPr lang="hu-HU" dirty="0">
                <a:latin typeface="Calibri" panose="020F0502020204030204" pitchFamily="34" charset="0"/>
                <a:cs typeface="Calibri" panose="020F0502020204030204" pitchFamily="34" charset="0"/>
              </a:rPr>
              <a:t>Rugalmas, adaptív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184D9E28-8226-6368-625D-78F683F11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482" y="642796"/>
            <a:ext cx="8147378" cy="1312752"/>
          </a:xfrm>
        </p:spPr>
        <p:txBody>
          <a:bodyPr>
            <a:normAutofit/>
          </a:bodyPr>
          <a:lstStyle/>
          <a:p>
            <a:pPr algn="ctr"/>
            <a:r>
              <a:rPr lang="hu-HU" sz="31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nntartható megoldások</a:t>
            </a:r>
            <a:endParaRPr lang="hu-HU" dirty="0"/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3F7A8185-B643-DFEB-6AD3-0D791E1C119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1CA048A-6AD4-A57A-B25E-6EDA8C574D0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8</a:t>
            </a:fld>
            <a:endParaRPr lang="en-US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B2AD7A01-E55E-CD5F-86E6-82FE79B6BF3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2288167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8A03177B-74FC-409A-B651-7CF24B515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 dirty="0"/>
          </a:p>
          <a:p>
            <a:r>
              <a:rPr lang="hu-HU" dirty="0"/>
              <a:t>Átláthatóság, könnyű kezelhetőség</a:t>
            </a:r>
          </a:p>
          <a:p>
            <a:r>
              <a:rPr lang="hu-HU" dirty="0"/>
              <a:t>Rugalmasság, bővíthetőség</a:t>
            </a:r>
          </a:p>
          <a:p>
            <a:r>
              <a:rPr lang="hu-HU" dirty="0"/>
              <a:t>Újra felhasználható elemek</a:t>
            </a:r>
          </a:p>
          <a:p>
            <a:r>
              <a:rPr lang="hu-HU" dirty="0"/>
              <a:t>Integrációs pontok</a:t>
            </a:r>
          </a:p>
          <a:p>
            <a:r>
              <a:rPr lang="hu-HU" dirty="0"/>
              <a:t>Technológiák beépíthetősége</a:t>
            </a:r>
          </a:p>
        </p:txBody>
      </p:sp>
      <p:sp>
        <p:nvSpPr>
          <p:cNvPr id="3" name="Cím 2">
            <a:extLst>
              <a:ext uri="{FF2B5EF4-FFF2-40B4-BE49-F238E27FC236}">
                <a16:creationId xmlns:a16="http://schemas.microsoft.com/office/drawing/2014/main" id="{DE919F9E-5ED0-4545-B1C4-7704BCDAA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836" y="434775"/>
            <a:ext cx="10091651" cy="507600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hu-HU" sz="3100" b="1" dirty="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chnológiától független nézőpontok</a:t>
            </a:r>
            <a:r>
              <a:rPr lang="hu-HU" sz="31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br>
              <a:rPr lang="hu-HU" sz="31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3100" b="1" dirty="0">
                <a:solidFill>
                  <a:srgbClr val="C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lhasználóbarát megoldások </a:t>
            </a:r>
            <a:br>
              <a:rPr lang="hu-HU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hu-HU" sz="2700" b="1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jlesztési eszközök és módszertanok, felhasználói felületek</a:t>
            </a:r>
            <a:endParaRPr lang="hu-HU" sz="2900" b="1" dirty="0">
              <a:solidFill>
                <a:srgbClr val="FF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7DB276E5-FC9C-4108-9CAE-640B3E0B4710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D949C95C-5224-46B1-A363-6748BD18EC4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hu-HU"/>
              <a:t>2022.05.26.</a:t>
            </a:r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A82C3DE6-F039-496C-BD07-EE9AB4D8D27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4F0811-A64E-4F03-A889-926C040EAF26}" type="slidenum">
              <a:rPr lang="en-US" smtClean="0"/>
              <a:t>9</a:t>
            </a:fld>
            <a:endParaRPr lang="en-US"/>
          </a:p>
        </p:txBody>
      </p:sp>
      <p:pic>
        <p:nvPicPr>
          <p:cNvPr id="7" name="Picture 4" descr="guis">
            <a:extLst>
              <a:ext uri="{FF2B5EF4-FFF2-40B4-BE49-F238E27FC236}">
                <a16:creationId xmlns:a16="http://schemas.microsoft.com/office/drawing/2014/main" id="{B357DEA4-5474-4EEE-90FD-BCDFA4C4CDBE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9127" y="1518544"/>
            <a:ext cx="3952873" cy="2994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2949938A-7FCF-43C9-9008-D84D225921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366" y="4007093"/>
            <a:ext cx="4477860" cy="2364907"/>
          </a:xfrm>
          <a:prstGeom prst="rect">
            <a:avLst/>
          </a:prstGeom>
        </p:spPr>
      </p:pic>
      <p:pic>
        <p:nvPicPr>
          <p:cNvPr id="9" name="Picture 2" descr="Screen Shot 2012-05-08 at 11">
            <a:extLst>
              <a:ext uri="{FF2B5EF4-FFF2-40B4-BE49-F238E27FC236}">
                <a16:creationId xmlns:a16="http://schemas.microsoft.com/office/drawing/2014/main" id="{AE05DAAF-BA1C-47B3-9C78-D8B82BBD2407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372104"/>
            <a:ext cx="1317139" cy="187380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zövegdoboz 9">
            <a:extLst>
              <a:ext uri="{FF2B5EF4-FFF2-40B4-BE49-F238E27FC236}">
                <a16:creationId xmlns:a16="http://schemas.microsoft.com/office/drawing/2014/main" id="{B066E431-0FCE-4DA8-AE54-EB71B4AE0146}"/>
              </a:ext>
            </a:extLst>
          </p:cNvPr>
          <p:cNvSpPr txBox="1"/>
          <p:nvPr/>
        </p:nvSpPr>
        <p:spPr>
          <a:xfrm>
            <a:off x="8851274" y="4566758"/>
            <a:ext cx="2480754" cy="368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AP GUI Enjoy </a:t>
            </a:r>
            <a:r>
              <a:rPr lang="hu-HU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</a:t>
            </a:r>
            <a:r>
              <a:rPr lang="en-GB" sz="18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ontrol</a:t>
            </a:r>
            <a:endParaRPr lang="hu-HU" dirty="0"/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624CAD81-9518-40DA-B684-197BBEB0277D}"/>
              </a:ext>
            </a:extLst>
          </p:cNvPr>
          <p:cNvSpPr txBox="1"/>
          <p:nvPr/>
        </p:nvSpPr>
        <p:spPr>
          <a:xfrm>
            <a:off x="5440999" y="4361064"/>
            <a:ext cx="2385134" cy="368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AP </a:t>
            </a:r>
            <a:r>
              <a:rPr lang="hu-HU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konzolos</a:t>
            </a:r>
            <a:r>
              <a:rPr lang="en-GB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hu-HU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élda</a:t>
            </a:r>
            <a:endParaRPr lang="hu-HU" dirty="0"/>
          </a:p>
        </p:txBody>
      </p:sp>
      <p:sp>
        <p:nvSpPr>
          <p:cNvPr id="12" name="Élőláb helye 11">
            <a:extLst>
              <a:ext uri="{FF2B5EF4-FFF2-40B4-BE49-F238E27FC236}">
                <a16:creationId xmlns:a16="http://schemas.microsoft.com/office/drawing/2014/main" id="{97B5F475-5136-B63A-6911-4F59546D70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Orosz Tamás - TKP 2022</a:t>
            </a:r>
          </a:p>
        </p:txBody>
      </p:sp>
    </p:spTree>
    <p:extLst>
      <p:ext uri="{BB962C8B-B14F-4D97-AF65-F5344CB8AC3E}">
        <p14:creationId xmlns:p14="http://schemas.microsoft.com/office/powerpoint/2010/main" val="32655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1GQLVVRU2s_XMV4MusTg"/>
</p:tagLst>
</file>

<file path=ppt/theme/theme1.xml><?xml version="1.0" encoding="utf-8"?>
<a:theme xmlns:a="http://schemas.openxmlformats.org/drawingml/2006/main" name="1_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sample.pptx" id="{FF1F7FE3-3C3D-4F13-B8E5-AAB3A6B95120}" vid="{FB8C8A2C-1752-46E7-BB69-6FFCE2D7CCED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DD5D124C0B617F4999D104D22D6BC95A" ma:contentTypeVersion="11" ma:contentTypeDescription="Új dokumentum létrehozása." ma:contentTypeScope="" ma:versionID="9b6f371ee389148b5eb2e35ab0b83a0c">
  <xsd:schema xmlns:xsd="http://www.w3.org/2001/XMLSchema" xmlns:xs="http://www.w3.org/2001/XMLSchema" xmlns:p="http://schemas.microsoft.com/office/2006/metadata/properties" xmlns:ns2="933e64fd-1b07-49fa-b034-5fa910d8ce24" xmlns:ns3="bf7f2544-6e3d-4023-813e-368a9e57d53e" targetNamespace="http://schemas.microsoft.com/office/2006/metadata/properties" ma:root="true" ma:fieldsID="15488e9e64d2411c4b67befd51c6b8a3" ns2:_="" ns3:_="">
    <xsd:import namespace="933e64fd-1b07-49fa-b034-5fa910d8ce24"/>
    <xsd:import namespace="bf7f2544-6e3d-4023-813e-368a9e57d5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3e64fd-1b07-49fa-b034-5fa910d8ce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7f2544-6e3d-4023-813e-368a9e57d53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B3CC350-C684-46AF-83B9-AAAEC02580F7}">
  <ds:schemaRefs>
    <ds:schemaRef ds:uri="933e64fd-1b07-49fa-b034-5fa910d8ce24"/>
    <ds:schemaRef ds:uri="bf7f2544-6e3d-4023-813e-368a9e57d53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662941A-2BE3-49EB-BC19-99430DC2C8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5A34B5-874E-4781-92BE-1944CB02F471}">
  <ds:schemaRefs>
    <ds:schemaRef ds:uri="http://schemas.openxmlformats.org/package/2006/metadata/core-properties"/>
    <ds:schemaRef ds:uri="bf7f2544-6e3d-4023-813e-368a9e57d53e"/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933e64fd-1b07-49fa-b034-5fa910d8ce24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sample</Template>
  <TotalTime>2974</TotalTime>
  <Words>997</Words>
  <Application>Microsoft Office PowerPoint</Application>
  <PresentationFormat>Szélesvásznú</PresentationFormat>
  <Paragraphs>234</Paragraphs>
  <Slides>27</Slides>
  <Notes>4</Notes>
  <HiddenSlides>1</HiddenSlides>
  <MMClips>0</MMClips>
  <ScaleCrop>false</ScaleCrop>
  <HeadingPairs>
    <vt:vector size="8" baseType="variant">
      <vt:variant>
        <vt:lpstr>Használt betűtípusok</vt:lpstr>
      </vt:variant>
      <vt:variant>
        <vt:i4>1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7</vt:i4>
      </vt:variant>
    </vt:vector>
  </HeadingPairs>
  <TitlesOfParts>
    <vt:vector size="44" baseType="lpstr">
      <vt:lpstr>Arial</vt:lpstr>
      <vt:lpstr>Calibri</vt:lpstr>
      <vt:lpstr>Calibri Light</vt:lpstr>
      <vt:lpstr>Fd5088-Identity-H</vt:lpstr>
      <vt:lpstr>Garamond</vt:lpstr>
      <vt:lpstr>LM Sans 10</vt:lpstr>
      <vt:lpstr>LM Sans 17</vt:lpstr>
      <vt:lpstr>Open sans</vt:lpstr>
      <vt:lpstr>Open sans</vt:lpstr>
      <vt:lpstr>Open Sans Light</vt:lpstr>
      <vt:lpstr>RobotoRegular</vt:lpstr>
      <vt:lpstr>Rubik</vt:lpstr>
      <vt:lpstr>Symbol</vt:lpstr>
      <vt:lpstr>Times New Roman</vt:lpstr>
      <vt:lpstr>Wingdings</vt:lpstr>
      <vt:lpstr>1_Office-téma</vt:lpstr>
      <vt:lpstr>think-cell Slide</vt:lpstr>
      <vt:lpstr>üzleti folyamatok fenntartható fejlesztése</vt:lpstr>
      <vt:lpstr>Bevezetés</vt:lpstr>
      <vt:lpstr>Kutatási Célok</vt:lpstr>
      <vt:lpstr>Tervezett megvalósítás</vt:lpstr>
      <vt:lpstr>Ügyfélközpontú szemléletmódok, eljárások megvalósítása vállalati környezetben</vt:lpstr>
      <vt:lpstr>Technológiai kihívások rendszerfrissítések, bevezetések során</vt:lpstr>
      <vt:lpstr>Piaci előnyök felismerése és érvényesítése adott rendszerkörnyezetben</vt:lpstr>
      <vt:lpstr>Fenntartható megoldások</vt:lpstr>
      <vt:lpstr>Technológiától független nézőpontok:  Felhasználóbarát megoldások  Fejlesztési eszközök és módszertanok, felhasználói felületek</vt:lpstr>
      <vt:lpstr>Technológiától független nézőpontok:  2. Üzleti igény vezérelt módszertan kiválasztása </vt:lpstr>
      <vt:lpstr>Technológiától független nézőpontok:  3. Szolgáltatás-orientált koncepció és architektúra</vt:lpstr>
      <vt:lpstr>Fejlesztési eszközök alkalmazása</vt:lpstr>
      <vt:lpstr>Szoftver életciklus, változáskezelés projekt szemléletben</vt:lpstr>
      <vt:lpstr>Digitális gazdaság kihívásai</vt:lpstr>
      <vt:lpstr>Szoftveres innováció</vt:lpstr>
      <vt:lpstr>Architekturális, felhasználói felület innováció</vt:lpstr>
      <vt:lpstr>Változások a projektmenedzsmentben</vt:lpstr>
      <vt:lpstr>Megatrendek: Cyber-Physical System + Product Service Systems</vt:lpstr>
      <vt:lpstr>Üzleti változásmenedzsmentet kiváltó okok</vt:lpstr>
      <vt:lpstr>Ellenállás az üzleti változással szemben</vt:lpstr>
      <vt:lpstr>Integrált rendszerkoncepció mellett egyedi szolgáltatások beépítése a rendszerkörnyezetbe</vt:lpstr>
      <vt:lpstr>Újfajta gondolkodásmód folyamata: Design Thinking Process Process Overview</vt:lpstr>
      <vt:lpstr>Közösségi hálózat bevonása</vt:lpstr>
      <vt:lpstr>SMAC: Spcial – Mobile – Analytics - Cloud</vt:lpstr>
      <vt:lpstr>Modern SAP Fiori felhasználói felület</vt:lpstr>
      <vt:lpstr>Benyújtott publikációk</vt:lpstr>
      <vt:lpstr>Köszönöm  A figyelme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rosz Tamás</dc:creator>
  <cp:keywords>TKP 2022</cp:keywords>
  <cp:lastModifiedBy>Tamás</cp:lastModifiedBy>
  <cp:revision>65</cp:revision>
  <cp:lastPrinted>2016-03-01T15:05:05Z</cp:lastPrinted>
  <dcterms:created xsi:type="dcterms:W3CDTF">2020-03-10T14:57:57Z</dcterms:created>
  <dcterms:modified xsi:type="dcterms:W3CDTF">2022-05-25T17:3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5D124C0B617F4999D104D22D6BC95A</vt:lpwstr>
  </property>
</Properties>
</file>